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712" r:id="rId3"/>
    <p:sldMasterId id="2147483735" r:id="rId4"/>
    <p:sldMasterId id="2147483773" r:id="rId5"/>
  </p:sldMasterIdLst>
  <p:notesMasterIdLst>
    <p:notesMasterId r:id="rId25"/>
  </p:notesMasterIdLst>
  <p:sldIdLst>
    <p:sldId id="2146846405" r:id="rId6"/>
    <p:sldId id="560" r:id="rId7"/>
    <p:sldId id="2076137322" r:id="rId8"/>
    <p:sldId id="2146846406" r:id="rId9"/>
    <p:sldId id="2146846410" r:id="rId10"/>
    <p:sldId id="2146846432" r:id="rId11"/>
    <p:sldId id="2146846433" r:id="rId12"/>
    <p:sldId id="2146846420" r:id="rId13"/>
    <p:sldId id="2146846416" r:id="rId14"/>
    <p:sldId id="2146846417" r:id="rId15"/>
    <p:sldId id="2146846407" r:id="rId16"/>
    <p:sldId id="2146846434" r:id="rId17"/>
    <p:sldId id="2146846435" r:id="rId18"/>
    <p:sldId id="2146846423" r:id="rId19"/>
    <p:sldId id="2146846418" r:id="rId20"/>
    <p:sldId id="2146846419" r:id="rId21"/>
    <p:sldId id="2146846436" r:id="rId22"/>
    <p:sldId id="2146846415" r:id="rId23"/>
    <p:sldId id="2134804973"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DC0"/>
    <a:srgbClr val="BFBFBF"/>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BEE011-BDE0-4924-857F-571F4CEA325A}" v="98" dt="2021-03-22T06:17:02.6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36" y="10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pada Chanthaweethip" userId="9b1d58b2-9101-4125-9901-bbcec147f2c6" providerId="ADAL" clId="{6071432F-9294-4EC0-BA55-2246E426275D}"/>
    <pc:docChg chg="undo custSel addSld delSld modSld sldOrd">
      <pc:chgData name="Wipada Chanthaweethip" userId="9b1d58b2-9101-4125-9901-bbcec147f2c6" providerId="ADAL" clId="{6071432F-9294-4EC0-BA55-2246E426275D}" dt="2021-03-22T07:05:59.859" v="2740" actId="1076"/>
      <pc:docMkLst>
        <pc:docMk/>
      </pc:docMkLst>
      <pc:sldChg chg="modSp mod">
        <pc:chgData name="Wipada Chanthaweethip" userId="9b1d58b2-9101-4125-9901-bbcec147f2c6" providerId="ADAL" clId="{6071432F-9294-4EC0-BA55-2246E426275D}" dt="2021-03-17T03:25:49.827" v="2724" actId="1076"/>
        <pc:sldMkLst>
          <pc:docMk/>
          <pc:sldMk cId="3225415074" sldId="2146846410"/>
        </pc:sldMkLst>
        <pc:picChg chg="mod">
          <ac:chgData name="Wipada Chanthaweethip" userId="9b1d58b2-9101-4125-9901-bbcec147f2c6" providerId="ADAL" clId="{6071432F-9294-4EC0-BA55-2246E426275D}" dt="2021-03-17T03:25:49.827" v="2724" actId="1076"/>
          <ac:picMkLst>
            <pc:docMk/>
            <pc:sldMk cId="3225415074" sldId="2146846410"/>
            <ac:picMk id="9" creationId="{D091F185-5DB8-4416-AFC4-742BE957717C}"/>
          </ac:picMkLst>
        </pc:picChg>
      </pc:sldChg>
      <pc:sldChg chg="mod modShow">
        <pc:chgData name="Wipada Chanthaweethip" userId="9b1d58b2-9101-4125-9901-bbcec147f2c6" providerId="ADAL" clId="{6071432F-9294-4EC0-BA55-2246E426275D}" dt="2021-03-16T03:30:48.611" v="1885" actId="729"/>
        <pc:sldMkLst>
          <pc:docMk/>
          <pc:sldMk cId="156154000" sldId="2146846412"/>
        </pc:sldMkLst>
      </pc:sldChg>
      <pc:sldChg chg="modSp mod">
        <pc:chgData name="Wipada Chanthaweethip" userId="9b1d58b2-9101-4125-9901-bbcec147f2c6" providerId="ADAL" clId="{6071432F-9294-4EC0-BA55-2246E426275D}" dt="2021-03-16T03:40:18.036" v="1953" actId="20577"/>
        <pc:sldMkLst>
          <pc:docMk/>
          <pc:sldMk cId="2603264723" sldId="2146846416"/>
        </pc:sldMkLst>
        <pc:spChg chg="mod">
          <ac:chgData name="Wipada Chanthaweethip" userId="9b1d58b2-9101-4125-9901-bbcec147f2c6" providerId="ADAL" clId="{6071432F-9294-4EC0-BA55-2246E426275D}" dt="2021-03-16T03:40:18.036" v="1953" actId="20577"/>
          <ac:spMkLst>
            <pc:docMk/>
            <pc:sldMk cId="2603264723" sldId="2146846416"/>
            <ac:spMk id="6" creationId="{ACEF8A86-BBF8-471B-AD33-0EDC5D770D00}"/>
          </ac:spMkLst>
        </pc:spChg>
      </pc:sldChg>
      <pc:sldChg chg="modSp mod">
        <pc:chgData name="Wipada Chanthaweethip" userId="9b1d58b2-9101-4125-9901-bbcec147f2c6" providerId="ADAL" clId="{6071432F-9294-4EC0-BA55-2246E426275D}" dt="2021-03-16T03:48:35.826" v="2262" actId="20577"/>
        <pc:sldMkLst>
          <pc:docMk/>
          <pc:sldMk cId="1317679432" sldId="2146846417"/>
        </pc:sldMkLst>
        <pc:spChg chg="mod">
          <ac:chgData name="Wipada Chanthaweethip" userId="9b1d58b2-9101-4125-9901-bbcec147f2c6" providerId="ADAL" clId="{6071432F-9294-4EC0-BA55-2246E426275D}" dt="2021-03-16T03:48:35.826" v="2262" actId="20577"/>
          <ac:spMkLst>
            <pc:docMk/>
            <pc:sldMk cId="1317679432" sldId="2146846417"/>
            <ac:spMk id="4" creationId="{76A36981-B928-4C0C-85A0-37683573C65A}"/>
          </ac:spMkLst>
        </pc:spChg>
      </pc:sldChg>
      <pc:sldChg chg="modSp add del mod">
        <pc:chgData name="Wipada Chanthaweethip" userId="9b1d58b2-9101-4125-9901-bbcec147f2c6" providerId="ADAL" clId="{6071432F-9294-4EC0-BA55-2246E426275D}" dt="2021-03-16T04:04:31.085" v="2653" actId="2696"/>
        <pc:sldMkLst>
          <pc:docMk/>
          <pc:sldMk cId="1381610846" sldId="2146846418"/>
        </pc:sldMkLst>
        <pc:spChg chg="mod">
          <ac:chgData name="Wipada Chanthaweethip" userId="9b1d58b2-9101-4125-9901-bbcec147f2c6" providerId="ADAL" clId="{6071432F-9294-4EC0-BA55-2246E426275D}" dt="2021-03-16T03:55:48.654" v="2478" actId="207"/>
          <ac:spMkLst>
            <pc:docMk/>
            <pc:sldMk cId="1381610846" sldId="2146846418"/>
            <ac:spMk id="4" creationId="{F1A00794-9E11-49A9-97EC-61DBBE0EC2C0}"/>
          </ac:spMkLst>
        </pc:spChg>
      </pc:sldChg>
      <pc:sldChg chg="addSp delSp modSp add del mod">
        <pc:chgData name="Wipada Chanthaweethip" userId="9b1d58b2-9101-4125-9901-bbcec147f2c6" providerId="ADAL" clId="{6071432F-9294-4EC0-BA55-2246E426275D}" dt="2021-03-16T04:04:31.085" v="2653" actId="2696"/>
        <pc:sldMkLst>
          <pc:docMk/>
          <pc:sldMk cId="2495288789" sldId="2146846419"/>
        </pc:sldMkLst>
        <pc:spChg chg="add del mod">
          <ac:chgData name="Wipada Chanthaweethip" userId="9b1d58b2-9101-4125-9901-bbcec147f2c6" providerId="ADAL" clId="{6071432F-9294-4EC0-BA55-2246E426275D}" dt="2021-03-16T03:13:08.989" v="1482"/>
          <ac:spMkLst>
            <pc:docMk/>
            <pc:sldMk cId="2495288789" sldId="2146846419"/>
            <ac:spMk id="4" creationId="{E54D90BC-7466-4AF6-A64E-5C8F5617838F}"/>
          </ac:spMkLst>
        </pc:spChg>
        <pc:spChg chg="mod">
          <ac:chgData name="Wipada Chanthaweethip" userId="9b1d58b2-9101-4125-9901-bbcec147f2c6" providerId="ADAL" clId="{6071432F-9294-4EC0-BA55-2246E426275D}" dt="2021-03-16T03:57:37.291" v="2526" actId="20577"/>
          <ac:spMkLst>
            <pc:docMk/>
            <pc:sldMk cId="2495288789" sldId="2146846419"/>
            <ac:spMk id="6" creationId="{3D8384C1-5DD0-4F35-B554-A7C273CFBB05}"/>
          </ac:spMkLst>
        </pc:spChg>
      </pc:sldChg>
      <pc:sldChg chg="new del">
        <pc:chgData name="Wipada Chanthaweethip" userId="9b1d58b2-9101-4125-9901-bbcec147f2c6" providerId="ADAL" clId="{6071432F-9294-4EC0-BA55-2246E426275D}" dt="2021-03-16T01:18:27.636" v="1" actId="680"/>
        <pc:sldMkLst>
          <pc:docMk/>
          <pc:sldMk cId="2150788313" sldId="2146846420"/>
        </pc:sldMkLst>
      </pc:sldChg>
      <pc:sldChg chg="addSp delSp modSp new mod ord">
        <pc:chgData name="Wipada Chanthaweethip" userId="9b1d58b2-9101-4125-9901-bbcec147f2c6" providerId="ADAL" clId="{6071432F-9294-4EC0-BA55-2246E426275D}" dt="2021-03-16T06:36:18.946" v="2695" actId="208"/>
        <pc:sldMkLst>
          <pc:docMk/>
          <pc:sldMk cId="3663674221" sldId="2146846420"/>
        </pc:sldMkLst>
        <pc:spChg chg="mod">
          <ac:chgData name="Wipada Chanthaweethip" userId="9b1d58b2-9101-4125-9901-bbcec147f2c6" providerId="ADAL" clId="{6071432F-9294-4EC0-BA55-2246E426275D}" dt="2021-03-16T01:33:08.364" v="172" actId="20577"/>
          <ac:spMkLst>
            <pc:docMk/>
            <pc:sldMk cId="3663674221" sldId="2146846420"/>
            <ac:spMk id="2" creationId="{222F6F0D-D183-474E-B63D-492DD51C35E1}"/>
          </ac:spMkLst>
        </pc:spChg>
        <pc:spChg chg="add mod">
          <ac:chgData name="Wipada Chanthaweethip" userId="9b1d58b2-9101-4125-9901-bbcec147f2c6" providerId="ADAL" clId="{6071432F-9294-4EC0-BA55-2246E426275D}" dt="2021-03-16T03:44:54.788" v="2226" actId="1035"/>
          <ac:spMkLst>
            <pc:docMk/>
            <pc:sldMk cId="3663674221" sldId="2146846420"/>
            <ac:spMk id="4" creationId="{3106D8F3-0136-4469-BB75-3CA9BA14117A}"/>
          </ac:spMkLst>
        </pc:spChg>
        <pc:spChg chg="add del mod">
          <ac:chgData name="Wipada Chanthaweethip" userId="9b1d58b2-9101-4125-9901-bbcec147f2c6" providerId="ADAL" clId="{6071432F-9294-4EC0-BA55-2246E426275D}" dt="2021-03-16T02:05:43.086" v="307" actId="478"/>
          <ac:spMkLst>
            <pc:docMk/>
            <pc:sldMk cId="3663674221" sldId="2146846420"/>
            <ac:spMk id="6" creationId="{2F6D2AE5-9D4E-4DE9-A068-402E78402A3C}"/>
          </ac:spMkLst>
        </pc:spChg>
        <pc:spChg chg="add del mod">
          <ac:chgData name="Wipada Chanthaweethip" userId="9b1d58b2-9101-4125-9901-bbcec147f2c6" providerId="ADAL" clId="{6071432F-9294-4EC0-BA55-2246E426275D}" dt="2021-03-16T02:05:43.086" v="307" actId="478"/>
          <ac:spMkLst>
            <pc:docMk/>
            <pc:sldMk cId="3663674221" sldId="2146846420"/>
            <ac:spMk id="7" creationId="{EFC45666-583E-4324-96B5-557A57DF5152}"/>
          </ac:spMkLst>
        </pc:spChg>
        <pc:spChg chg="add del mod">
          <ac:chgData name="Wipada Chanthaweethip" userId="9b1d58b2-9101-4125-9901-bbcec147f2c6" providerId="ADAL" clId="{6071432F-9294-4EC0-BA55-2246E426275D}" dt="2021-03-16T02:05:43.086" v="307" actId="478"/>
          <ac:spMkLst>
            <pc:docMk/>
            <pc:sldMk cId="3663674221" sldId="2146846420"/>
            <ac:spMk id="8" creationId="{BFC5F408-2C4B-40B9-9C92-6CCDB23732E3}"/>
          </ac:spMkLst>
        </pc:spChg>
        <pc:spChg chg="add del mod">
          <ac:chgData name="Wipada Chanthaweethip" userId="9b1d58b2-9101-4125-9901-bbcec147f2c6" providerId="ADAL" clId="{6071432F-9294-4EC0-BA55-2246E426275D}" dt="2021-03-16T02:05:43.086" v="307" actId="478"/>
          <ac:spMkLst>
            <pc:docMk/>
            <pc:sldMk cId="3663674221" sldId="2146846420"/>
            <ac:spMk id="9" creationId="{9F00C4C2-F03F-4844-B5EC-C7A216723BFF}"/>
          </ac:spMkLst>
        </pc:spChg>
        <pc:spChg chg="add del mod">
          <ac:chgData name="Wipada Chanthaweethip" userId="9b1d58b2-9101-4125-9901-bbcec147f2c6" providerId="ADAL" clId="{6071432F-9294-4EC0-BA55-2246E426275D}" dt="2021-03-16T02:05:43.086" v="307" actId="478"/>
          <ac:spMkLst>
            <pc:docMk/>
            <pc:sldMk cId="3663674221" sldId="2146846420"/>
            <ac:spMk id="13" creationId="{EACF2020-53D4-4186-BA3C-4BD8C3F94358}"/>
          </ac:spMkLst>
        </pc:spChg>
        <pc:spChg chg="add del mod">
          <ac:chgData name="Wipada Chanthaweethip" userId="9b1d58b2-9101-4125-9901-bbcec147f2c6" providerId="ADAL" clId="{6071432F-9294-4EC0-BA55-2246E426275D}" dt="2021-03-16T02:05:43.086" v="307" actId="478"/>
          <ac:spMkLst>
            <pc:docMk/>
            <pc:sldMk cId="3663674221" sldId="2146846420"/>
            <ac:spMk id="14" creationId="{62C0C433-E4D0-4A62-8C58-D1223152A061}"/>
          </ac:spMkLst>
        </pc:spChg>
        <pc:spChg chg="add del mod">
          <ac:chgData name="Wipada Chanthaweethip" userId="9b1d58b2-9101-4125-9901-bbcec147f2c6" providerId="ADAL" clId="{6071432F-9294-4EC0-BA55-2246E426275D}" dt="2021-03-16T02:05:43.086" v="307" actId="478"/>
          <ac:spMkLst>
            <pc:docMk/>
            <pc:sldMk cId="3663674221" sldId="2146846420"/>
            <ac:spMk id="15" creationId="{21628AF9-0A2C-48CB-BC01-605FEBBE98C6}"/>
          </ac:spMkLst>
        </pc:spChg>
        <pc:spChg chg="add del mod">
          <ac:chgData name="Wipada Chanthaweethip" userId="9b1d58b2-9101-4125-9901-bbcec147f2c6" providerId="ADAL" clId="{6071432F-9294-4EC0-BA55-2246E426275D}" dt="2021-03-16T02:05:43.086" v="307" actId="478"/>
          <ac:spMkLst>
            <pc:docMk/>
            <pc:sldMk cId="3663674221" sldId="2146846420"/>
            <ac:spMk id="16" creationId="{B7417984-821C-4F0B-99D0-E32A78788BE1}"/>
          </ac:spMkLst>
        </pc:spChg>
        <pc:spChg chg="add del mod">
          <ac:chgData name="Wipada Chanthaweethip" userId="9b1d58b2-9101-4125-9901-bbcec147f2c6" providerId="ADAL" clId="{6071432F-9294-4EC0-BA55-2246E426275D}" dt="2021-03-16T01:34:03.067" v="185" actId="478"/>
          <ac:spMkLst>
            <pc:docMk/>
            <pc:sldMk cId="3663674221" sldId="2146846420"/>
            <ac:spMk id="17" creationId="{D2997E54-B227-42A4-B7D8-A168E641698B}"/>
          </ac:spMkLst>
        </pc:spChg>
        <pc:spChg chg="add mod">
          <ac:chgData name="Wipada Chanthaweethip" userId="9b1d58b2-9101-4125-9901-bbcec147f2c6" providerId="ADAL" clId="{6071432F-9294-4EC0-BA55-2246E426275D}" dt="2021-03-16T03:44:54.788" v="2226" actId="1035"/>
          <ac:spMkLst>
            <pc:docMk/>
            <pc:sldMk cId="3663674221" sldId="2146846420"/>
            <ac:spMk id="18" creationId="{AAB76947-EF5F-46C8-8E71-0B7EE7BDB44D}"/>
          </ac:spMkLst>
        </pc:spChg>
        <pc:spChg chg="add mod">
          <ac:chgData name="Wipada Chanthaweethip" userId="9b1d58b2-9101-4125-9901-bbcec147f2c6" providerId="ADAL" clId="{6071432F-9294-4EC0-BA55-2246E426275D}" dt="2021-03-16T03:44:54.788" v="2226" actId="1035"/>
          <ac:spMkLst>
            <pc:docMk/>
            <pc:sldMk cId="3663674221" sldId="2146846420"/>
            <ac:spMk id="19" creationId="{87CF505F-FD28-4A7B-B070-F139B01D04CC}"/>
          </ac:spMkLst>
        </pc:spChg>
        <pc:spChg chg="add mod">
          <ac:chgData name="Wipada Chanthaweethip" userId="9b1d58b2-9101-4125-9901-bbcec147f2c6" providerId="ADAL" clId="{6071432F-9294-4EC0-BA55-2246E426275D}" dt="2021-03-16T06:36:09.371" v="2694" actId="208"/>
          <ac:spMkLst>
            <pc:docMk/>
            <pc:sldMk cId="3663674221" sldId="2146846420"/>
            <ac:spMk id="20" creationId="{AD1AD0BB-5EF0-4D6E-AD1B-D1C319E47D6F}"/>
          </ac:spMkLst>
        </pc:spChg>
        <pc:spChg chg="add mod">
          <ac:chgData name="Wipada Chanthaweethip" userId="9b1d58b2-9101-4125-9901-bbcec147f2c6" providerId="ADAL" clId="{6071432F-9294-4EC0-BA55-2246E426275D}" dt="2021-03-16T06:36:18.946" v="2695" actId="208"/>
          <ac:spMkLst>
            <pc:docMk/>
            <pc:sldMk cId="3663674221" sldId="2146846420"/>
            <ac:spMk id="21" creationId="{C45F5569-3DE4-49E7-989B-F624E8B0158A}"/>
          </ac:spMkLst>
        </pc:spChg>
        <pc:spChg chg="add mod">
          <ac:chgData name="Wipada Chanthaweethip" userId="9b1d58b2-9101-4125-9901-bbcec147f2c6" providerId="ADAL" clId="{6071432F-9294-4EC0-BA55-2246E426275D}" dt="2021-03-16T06:36:18.946" v="2695" actId="208"/>
          <ac:spMkLst>
            <pc:docMk/>
            <pc:sldMk cId="3663674221" sldId="2146846420"/>
            <ac:spMk id="22" creationId="{13A6139E-0A34-4803-A17E-6FDD61E011F7}"/>
          </ac:spMkLst>
        </pc:spChg>
        <pc:spChg chg="add mod">
          <ac:chgData name="Wipada Chanthaweethip" userId="9b1d58b2-9101-4125-9901-bbcec147f2c6" providerId="ADAL" clId="{6071432F-9294-4EC0-BA55-2246E426275D}" dt="2021-03-16T06:36:18.946" v="2695" actId="208"/>
          <ac:spMkLst>
            <pc:docMk/>
            <pc:sldMk cId="3663674221" sldId="2146846420"/>
            <ac:spMk id="23" creationId="{86DFCC37-64E3-40FF-AF5D-095FAEC94E7D}"/>
          </ac:spMkLst>
        </pc:spChg>
        <pc:spChg chg="add mod">
          <ac:chgData name="Wipada Chanthaweethip" userId="9b1d58b2-9101-4125-9901-bbcec147f2c6" providerId="ADAL" clId="{6071432F-9294-4EC0-BA55-2246E426275D}" dt="2021-03-16T03:44:54.788" v="2226" actId="1035"/>
          <ac:spMkLst>
            <pc:docMk/>
            <pc:sldMk cId="3663674221" sldId="2146846420"/>
            <ac:spMk id="27" creationId="{CF4DF96B-7A0E-4F20-AE1D-EECCC2F1E11F}"/>
          </ac:spMkLst>
        </pc:spChg>
        <pc:spChg chg="add mod">
          <ac:chgData name="Wipada Chanthaweethip" userId="9b1d58b2-9101-4125-9901-bbcec147f2c6" providerId="ADAL" clId="{6071432F-9294-4EC0-BA55-2246E426275D}" dt="2021-03-16T03:44:54.788" v="2226" actId="1035"/>
          <ac:spMkLst>
            <pc:docMk/>
            <pc:sldMk cId="3663674221" sldId="2146846420"/>
            <ac:spMk id="28" creationId="{1731FCFC-4EB4-4B69-86F9-A85892C3E8C5}"/>
          </ac:spMkLst>
        </pc:spChg>
        <pc:spChg chg="add mod">
          <ac:chgData name="Wipada Chanthaweethip" userId="9b1d58b2-9101-4125-9901-bbcec147f2c6" providerId="ADAL" clId="{6071432F-9294-4EC0-BA55-2246E426275D}" dt="2021-03-16T03:44:59.159" v="2227" actId="1076"/>
          <ac:spMkLst>
            <pc:docMk/>
            <pc:sldMk cId="3663674221" sldId="2146846420"/>
            <ac:spMk id="29" creationId="{D0C73C54-A7D2-43BC-8D76-5F955EBEF711}"/>
          </ac:spMkLst>
        </pc:spChg>
        <pc:spChg chg="add mod">
          <ac:chgData name="Wipada Chanthaweethip" userId="9b1d58b2-9101-4125-9901-bbcec147f2c6" providerId="ADAL" clId="{6071432F-9294-4EC0-BA55-2246E426275D}" dt="2021-03-16T03:44:54.788" v="2226" actId="1035"/>
          <ac:spMkLst>
            <pc:docMk/>
            <pc:sldMk cId="3663674221" sldId="2146846420"/>
            <ac:spMk id="30" creationId="{9C45373B-4CF5-428E-B686-13407C50EAA6}"/>
          </ac:spMkLst>
        </pc:spChg>
        <pc:spChg chg="add mod">
          <ac:chgData name="Wipada Chanthaweethip" userId="9b1d58b2-9101-4125-9901-bbcec147f2c6" providerId="ADAL" clId="{6071432F-9294-4EC0-BA55-2246E426275D}" dt="2021-03-16T03:44:54.788" v="2226" actId="1035"/>
          <ac:spMkLst>
            <pc:docMk/>
            <pc:sldMk cId="3663674221" sldId="2146846420"/>
            <ac:spMk id="35" creationId="{BCDDAA8A-5314-4374-AE63-E924F9BC1A9C}"/>
          </ac:spMkLst>
        </pc:spChg>
        <pc:spChg chg="add del mod">
          <ac:chgData name="Wipada Chanthaweethip" userId="9b1d58b2-9101-4125-9901-bbcec147f2c6" providerId="ADAL" clId="{6071432F-9294-4EC0-BA55-2246E426275D}" dt="2021-03-16T02:24:28.483" v="487" actId="478"/>
          <ac:spMkLst>
            <pc:docMk/>
            <pc:sldMk cId="3663674221" sldId="2146846420"/>
            <ac:spMk id="36" creationId="{3D4F23C5-B8DA-4A3B-833A-801D6000F630}"/>
          </ac:spMkLst>
        </pc:spChg>
        <pc:spChg chg="add del mod">
          <ac:chgData name="Wipada Chanthaweethip" userId="9b1d58b2-9101-4125-9901-bbcec147f2c6" providerId="ADAL" clId="{6071432F-9294-4EC0-BA55-2246E426275D}" dt="2021-03-16T02:24:28.483" v="487" actId="478"/>
          <ac:spMkLst>
            <pc:docMk/>
            <pc:sldMk cId="3663674221" sldId="2146846420"/>
            <ac:spMk id="38" creationId="{816DBAF9-38DA-40AE-A6AF-1D1491BF349D}"/>
          </ac:spMkLst>
        </pc:spChg>
        <pc:spChg chg="add del mod">
          <ac:chgData name="Wipada Chanthaweethip" userId="9b1d58b2-9101-4125-9901-bbcec147f2c6" providerId="ADAL" clId="{6071432F-9294-4EC0-BA55-2246E426275D}" dt="2021-03-16T02:24:28.483" v="487" actId="478"/>
          <ac:spMkLst>
            <pc:docMk/>
            <pc:sldMk cId="3663674221" sldId="2146846420"/>
            <ac:spMk id="39" creationId="{956CE7C3-BECF-4540-BCCC-B5F4A3D55488}"/>
          </ac:spMkLst>
        </pc:spChg>
        <pc:spChg chg="add del mod">
          <ac:chgData name="Wipada Chanthaweethip" userId="9b1d58b2-9101-4125-9901-bbcec147f2c6" providerId="ADAL" clId="{6071432F-9294-4EC0-BA55-2246E426275D}" dt="2021-03-16T02:24:28.483" v="487" actId="478"/>
          <ac:spMkLst>
            <pc:docMk/>
            <pc:sldMk cId="3663674221" sldId="2146846420"/>
            <ac:spMk id="40" creationId="{1B243B0B-8B19-4D9D-866C-DE715B78C468}"/>
          </ac:spMkLst>
        </pc:spChg>
        <pc:spChg chg="add del mod">
          <ac:chgData name="Wipada Chanthaweethip" userId="9b1d58b2-9101-4125-9901-bbcec147f2c6" providerId="ADAL" clId="{6071432F-9294-4EC0-BA55-2246E426275D}" dt="2021-03-16T02:24:28.483" v="487" actId="478"/>
          <ac:spMkLst>
            <pc:docMk/>
            <pc:sldMk cId="3663674221" sldId="2146846420"/>
            <ac:spMk id="41" creationId="{B4E78BA5-DFA0-404A-A102-4F10B1258C0F}"/>
          </ac:spMkLst>
        </pc:spChg>
        <pc:spChg chg="add del mod">
          <ac:chgData name="Wipada Chanthaweethip" userId="9b1d58b2-9101-4125-9901-bbcec147f2c6" providerId="ADAL" clId="{6071432F-9294-4EC0-BA55-2246E426275D}" dt="2021-03-16T02:24:28.483" v="487" actId="478"/>
          <ac:spMkLst>
            <pc:docMk/>
            <pc:sldMk cId="3663674221" sldId="2146846420"/>
            <ac:spMk id="42" creationId="{1D2D7F7E-5C7C-4E5E-97A0-444447589CAA}"/>
          </ac:spMkLst>
        </pc:spChg>
        <pc:spChg chg="add del mod">
          <ac:chgData name="Wipada Chanthaweethip" userId="9b1d58b2-9101-4125-9901-bbcec147f2c6" providerId="ADAL" clId="{6071432F-9294-4EC0-BA55-2246E426275D}" dt="2021-03-16T02:24:28.483" v="487" actId="478"/>
          <ac:spMkLst>
            <pc:docMk/>
            <pc:sldMk cId="3663674221" sldId="2146846420"/>
            <ac:spMk id="43" creationId="{8634F79E-E4A8-46CA-A32D-EEEB920A0C07}"/>
          </ac:spMkLst>
        </pc:spChg>
        <pc:spChg chg="add del mod">
          <ac:chgData name="Wipada Chanthaweethip" userId="9b1d58b2-9101-4125-9901-bbcec147f2c6" providerId="ADAL" clId="{6071432F-9294-4EC0-BA55-2246E426275D}" dt="2021-03-16T02:24:28.483" v="487" actId="478"/>
          <ac:spMkLst>
            <pc:docMk/>
            <pc:sldMk cId="3663674221" sldId="2146846420"/>
            <ac:spMk id="47" creationId="{BC7D20B3-FACD-44B8-A882-2163F17BFCC1}"/>
          </ac:spMkLst>
        </pc:spChg>
        <pc:spChg chg="add del mod">
          <ac:chgData name="Wipada Chanthaweethip" userId="9b1d58b2-9101-4125-9901-bbcec147f2c6" providerId="ADAL" clId="{6071432F-9294-4EC0-BA55-2246E426275D}" dt="2021-03-16T02:24:28.483" v="487" actId="478"/>
          <ac:spMkLst>
            <pc:docMk/>
            <pc:sldMk cId="3663674221" sldId="2146846420"/>
            <ac:spMk id="48" creationId="{325B2AF2-54F0-41E6-AF30-1A4064B7839F}"/>
          </ac:spMkLst>
        </pc:spChg>
        <pc:spChg chg="add del mod">
          <ac:chgData name="Wipada Chanthaweethip" userId="9b1d58b2-9101-4125-9901-bbcec147f2c6" providerId="ADAL" clId="{6071432F-9294-4EC0-BA55-2246E426275D}" dt="2021-03-16T02:24:28.483" v="487" actId="478"/>
          <ac:spMkLst>
            <pc:docMk/>
            <pc:sldMk cId="3663674221" sldId="2146846420"/>
            <ac:spMk id="49" creationId="{964FF368-A91B-486F-8C07-3EA9425548A9}"/>
          </ac:spMkLst>
        </pc:spChg>
        <pc:spChg chg="add del mod">
          <ac:chgData name="Wipada Chanthaweethip" userId="9b1d58b2-9101-4125-9901-bbcec147f2c6" providerId="ADAL" clId="{6071432F-9294-4EC0-BA55-2246E426275D}" dt="2021-03-16T02:24:28.483" v="487" actId="478"/>
          <ac:spMkLst>
            <pc:docMk/>
            <pc:sldMk cId="3663674221" sldId="2146846420"/>
            <ac:spMk id="50" creationId="{D9452E30-D6B4-427B-A8BB-69861519BC15}"/>
          </ac:spMkLst>
        </pc:spChg>
        <pc:spChg chg="add del mod">
          <ac:chgData name="Wipada Chanthaweethip" userId="9b1d58b2-9101-4125-9901-bbcec147f2c6" providerId="ADAL" clId="{6071432F-9294-4EC0-BA55-2246E426275D}" dt="2021-03-16T02:24:28.483" v="487" actId="478"/>
          <ac:spMkLst>
            <pc:docMk/>
            <pc:sldMk cId="3663674221" sldId="2146846420"/>
            <ac:spMk id="52" creationId="{14CAFB70-7D85-474B-BC98-66EF0B1618AA}"/>
          </ac:spMkLst>
        </pc:spChg>
        <pc:spChg chg="add del mod">
          <ac:chgData name="Wipada Chanthaweethip" userId="9b1d58b2-9101-4125-9901-bbcec147f2c6" providerId="ADAL" clId="{6071432F-9294-4EC0-BA55-2246E426275D}" dt="2021-03-16T02:24:28.483" v="487" actId="478"/>
          <ac:spMkLst>
            <pc:docMk/>
            <pc:sldMk cId="3663674221" sldId="2146846420"/>
            <ac:spMk id="54" creationId="{FEDF7900-5485-4A63-AD7D-1E7E3FAC81BC}"/>
          </ac:spMkLst>
        </pc:spChg>
        <pc:spChg chg="add mod">
          <ac:chgData name="Wipada Chanthaweethip" userId="9b1d58b2-9101-4125-9901-bbcec147f2c6" providerId="ADAL" clId="{6071432F-9294-4EC0-BA55-2246E426275D}" dt="2021-03-16T03:32:48.271" v="1916" actId="20577"/>
          <ac:spMkLst>
            <pc:docMk/>
            <pc:sldMk cId="3663674221" sldId="2146846420"/>
            <ac:spMk id="55" creationId="{9CF7B8B1-1B80-45B0-9FF2-7920B9D4BEBB}"/>
          </ac:spMkLst>
        </pc:spChg>
        <pc:grpChg chg="add mod">
          <ac:chgData name="Wipada Chanthaweethip" userId="9b1d58b2-9101-4125-9901-bbcec147f2c6" providerId="ADAL" clId="{6071432F-9294-4EC0-BA55-2246E426275D}" dt="2021-03-16T03:44:54.788" v="2226" actId="1035"/>
          <ac:grpSpMkLst>
            <pc:docMk/>
            <pc:sldMk cId="3663674221" sldId="2146846420"/>
            <ac:grpSpMk id="58" creationId="{F186289B-9B7E-46E8-A28D-0D97F1495674}"/>
          </ac:grpSpMkLst>
        </pc:grpChg>
        <pc:grpChg chg="add mod">
          <ac:chgData name="Wipada Chanthaweethip" userId="9b1d58b2-9101-4125-9901-bbcec147f2c6" providerId="ADAL" clId="{6071432F-9294-4EC0-BA55-2246E426275D}" dt="2021-03-16T03:44:54.788" v="2226" actId="1035"/>
          <ac:grpSpMkLst>
            <pc:docMk/>
            <pc:sldMk cId="3663674221" sldId="2146846420"/>
            <ac:grpSpMk id="63" creationId="{C5E11930-7024-4007-90DE-D7B6ECDDFABC}"/>
          </ac:grpSpMkLst>
        </pc:grpChg>
        <pc:picChg chg="add del mod">
          <ac:chgData name="Wipada Chanthaweethip" userId="9b1d58b2-9101-4125-9901-bbcec147f2c6" providerId="ADAL" clId="{6071432F-9294-4EC0-BA55-2246E426275D}" dt="2021-03-16T01:33:22.185" v="176" actId="21"/>
          <ac:picMkLst>
            <pc:docMk/>
            <pc:sldMk cId="3663674221" sldId="2146846420"/>
            <ac:picMk id="3" creationId="{82469318-3B5B-4744-A402-11464ED69D2F}"/>
          </ac:picMkLst>
        </pc:picChg>
        <pc:picChg chg="add mod">
          <ac:chgData name="Wipada Chanthaweethip" userId="9b1d58b2-9101-4125-9901-bbcec147f2c6" providerId="ADAL" clId="{6071432F-9294-4EC0-BA55-2246E426275D}" dt="2021-03-16T03:44:54.788" v="2226" actId="1035"/>
          <ac:picMkLst>
            <pc:docMk/>
            <pc:sldMk cId="3663674221" sldId="2146846420"/>
            <ac:picMk id="5" creationId="{061CAA94-C70D-4424-89F9-56007F9AEABF}"/>
          </ac:picMkLst>
        </pc:picChg>
        <pc:picChg chg="add del mod">
          <ac:chgData name="Wipada Chanthaweethip" userId="9b1d58b2-9101-4125-9901-bbcec147f2c6" providerId="ADAL" clId="{6071432F-9294-4EC0-BA55-2246E426275D}" dt="2021-03-16T02:24:28.483" v="487" actId="478"/>
          <ac:picMkLst>
            <pc:docMk/>
            <pc:sldMk cId="3663674221" sldId="2146846420"/>
            <ac:picMk id="37" creationId="{F6705CAA-7DAA-480C-8D2A-656F57D52D35}"/>
          </ac:picMkLst>
        </pc:picChg>
        <pc:cxnChg chg="add del mod">
          <ac:chgData name="Wipada Chanthaweethip" userId="9b1d58b2-9101-4125-9901-bbcec147f2c6" providerId="ADAL" clId="{6071432F-9294-4EC0-BA55-2246E426275D}" dt="2021-03-16T02:05:43.086" v="307" actId="478"/>
          <ac:cxnSpMkLst>
            <pc:docMk/>
            <pc:sldMk cId="3663674221" sldId="2146846420"/>
            <ac:cxnSpMk id="10" creationId="{337393A2-0ABF-4E33-B8B8-DE009B238523}"/>
          </ac:cxnSpMkLst>
        </pc:cxnChg>
        <pc:cxnChg chg="add del mod">
          <ac:chgData name="Wipada Chanthaweethip" userId="9b1d58b2-9101-4125-9901-bbcec147f2c6" providerId="ADAL" clId="{6071432F-9294-4EC0-BA55-2246E426275D}" dt="2021-03-16T02:05:43.086" v="307" actId="478"/>
          <ac:cxnSpMkLst>
            <pc:docMk/>
            <pc:sldMk cId="3663674221" sldId="2146846420"/>
            <ac:cxnSpMk id="11" creationId="{547D3460-9144-439B-A547-0DFE2115ECAD}"/>
          </ac:cxnSpMkLst>
        </pc:cxnChg>
        <pc:cxnChg chg="add del mod">
          <ac:chgData name="Wipada Chanthaweethip" userId="9b1d58b2-9101-4125-9901-bbcec147f2c6" providerId="ADAL" clId="{6071432F-9294-4EC0-BA55-2246E426275D}" dt="2021-03-16T02:05:43.086" v="307" actId="478"/>
          <ac:cxnSpMkLst>
            <pc:docMk/>
            <pc:sldMk cId="3663674221" sldId="2146846420"/>
            <ac:cxnSpMk id="12" creationId="{71CF38CB-D5FE-451F-AB0A-0C55A28BE884}"/>
          </ac:cxnSpMkLst>
        </pc:cxnChg>
        <pc:cxnChg chg="add mod">
          <ac:chgData name="Wipada Chanthaweethip" userId="9b1d58b2-9101-4125-9901-bbcec147f2c6" providerId="ADAL" clId="{6071432F-9294-4EC0-BA55-2246E426275D}" dt="2021-03-16T06:36:18.946" v="2695" actId="208"/>
          <ac:cxnSpMkLst>
            <pc:docMk/>
            <pc:sldMk cId="3663674221" sldId="2146846420"/>
            <ac:cxnSpMk id="24" creationId="{0D247628-7C80-4910-888A-93CE00B151B9}"/>
          </ac:cxnSpMkLst>
        </pc:cxnChg>
        <pc:cxnChg chg="add mod">
          <ac:chgData name="Wipada Chanthaweethip" userId="9b1d58b2-9101-4125-9901-bbcec147f2c6" providerId="ADAL" clId="{6071432F-9294-4EC0-BA55-2246E426275D}" dt="2021-03-16T06:36:18.946" v="2695" actId="208"/>
          <ac:cxnSpMkLst>
            <pc:docMk/>
            <pc:sldMk cId="3663674221" sldId="2146846420"/>
            <ac:cxnSpMk id="25" creationId="{D91107C2-14AF-481F-91BB-CCD9E9D2ADA2}"/>
          </ac:cxnSpMkLst>
        </pc:cxnChg>
        <pc:cxnChg chg="add mod">
          <ac:chgData name="Wipada Chanthaweethip" userId="9b1d58b2-9101-4125-9901-bbcec147f2c6" providerId="ADAL" clId="{6071432F-9294-4EC0-BA55-2246E426275D}" dt="2021-03-16T06:36:18.946" v="2695" actId="208"/>
          <ac:cxnSpMkLst>
            <pc:docMk/>
            <pc:sldMk cId="3663674221" sldId="2146846420"/>
            <ac:cxnSpMk id="26" creationId="{1ACD462D-5C4D-474C-BF2C-AFA033D9509D}"/>
          </ac:cxnSpMkLst>
        </pc:cxnChg>
        <pc:cxnChg chg="add mod">
          <ac:chgData name="Wipada Chanthaweethip" userId="9b1d58b2-9101-4125-9901-bbcec147f2c6" providerId="ADAL" clId="{6071432F-9294-4EC0-BA55-2246E426275D}" dt="2021-03-16T03:44:54.788" v="2226" actId="1035"/>
          <ac:cxnSpMkLst>
            <pc:docMk/>
            <pc:sldMk cId="3663674221" sldId="2146846420"/>
            <ac:cxnSpMk id="32" creationId="{E69F9B06-09F2-43BD-9A9E-E6EF8A298F3C}"/>
          </ac:cxnSpMkLst>
        </pc:cxnChg>
        <pc:cxnChg chg="add del mod">
          <ac:chgData name="Wipada Chanthaweethip" userId="9b1d58b2-9101-4125-9901-bbcec147f2c6" providerId="ADAL" clId="{6071432F-9294-4EC0-BA55-2246E426275D}" dt="2021-03-16T02:24:28.483" v="487" actId="478"/>
          <ac:cxnSpMkLst>
            <pc:docMk/>
            <pc:sldMk cId="3663674221" sldId="2146846420"/>
            <ac:cxnSpMk id="44" creationId="{302A342D-9CA1-4C4D-AE11-BBCCCCB8DC09}"/>
          </ac:cxnSpMkLst>
        </pc:cxnChg>
        <pc:cxnChg chg="add del mod">
          <ac:chgData name="Wipada Chanthaweethip" userId="9b1d58b2-9101-4125-9901-bbcec147f2c6" providerId="ADAL" clId="{6071432F-9294-4EC0-BA55-2246E426275D}" dt="2021-03-16T02:24:28.483" v="487" actId="478"/>
          <ac:cxnSpMkLst>
            <pc:docMk/>
            <pc:sldMk cId="3663674221" sldId="2146846420"/>
            <ac:cxnSpMk id="45" creationId="{889AAE8A-8D8A-4291-893A-BB055ADF0F6C}"/>
          </ac:cxnSpMkLst>
        </pc:cxnChg>
        <pc:cxnChg chg="add del mod">
          <ac:chgData name="Wipada Chanthaweethip" userId="9b1d58b2-9101-4125-9901-bbcec147f2c6" providerId="ADAL" clId="{6071432F-9294-4EC0-BA55-2246E426275D}" dt="2021-03-16T02:24:28.483" v="487" actId="478"/>
          <ac:cxnSpMkLst>
            <pc:docMk/>
            <pc:sldMk cId="3663674221" sldId="2146846420"/>
            <ac:cxnSpMk id="46" creationId="{25C16DAB-2EE4-4E89-8A04-37DFDE91A7A9}"/>
          </ac:cxnSpMkLst>
        </pc:cxnChg>
        <pc:cxnChg chg="add del mod">
          <ac:chgData name="Wipada Chanthaweethip" userId="9b1d58b2-9101-4125-9901-bbcec147f2c6" providerId="ADAL" clId="{6071432F-9294-4EC0-BA55-2246E426275D}" dt="2021-03-16T02:24:28.483" v="487" actId="478"/>
          <ac:cxnSpMkLst>
            <pc:docMk/>
            <pc:sldMk cId="3663674221" sldId="2146846420"/>
            <ac:cxnSpMk id="51" creationId="{61D3D61F-8B9B-4BD0-A776-002EBD8382F1}"/>
          </ac:cxnSpMkLst>
        </pc:cxnChg>
        <pc:cxnChg chg="add del mod">
          <ac:chgData name="Wipada Chanthaweethip" userId="9b1d58b2-9101-4125-9901-bbcec147f2c6" providerId="ADAL" clId="{6071432F-9294-4EC0-BA55-2246E426275D}" dt="2021-03-16T02:24:28.483" v="487" actId="478"/>
          <ac:cxnSpMkLst>
            <pc:docMk/>
            <pc:sldMk cId="3663674221" sldId="2146846420"/>
            <ac:cxnSpMk id="53" creationId="{E1E28071-FB08-413C-B9AC-42B1B6E174AB}"/>
          </ac:cxnSpMkLst>
        </pc:cxnChg>
      </pc:sldChg>
      <pc:sldChg chg="addSp delSp modSp add del mod ord">
        <pc:chgData name="Wipada Chanthaweethip" userId="9b1d58b2-9101-4125-9901-bbcec147f2c6" providerId="ADAL" clId="{6071432F-9294-4EC0-BA55-2246E426275D}" dt="2021-03-16T03:30:05.610" v="1879" actId="47"/>
        <pc:sldMkLst>
          <pc:docMk/>
          <pc:sldMk cId="3556942137" sldId="2146846421"/>
        </pc:sldMkLst>
        <pc:spChg chg="del">
          <ac:chgData name="Wipada Chanthaweethip" userId="9b1d58b2-9101-4125-9901-bbcec147f2c6" providerId="ADAL" clId="{6071432F-9294-4EC0-BA55-2246E426275D}" dt="2021-03-16T01:20:47.157" v="12" actId="478"/>
          <ac:spMkLst>
            <pc:docMk/>
            <pc:sldMk cId="3556942137" sldId="2146846421"/>
            <ac:spMk id="8" creationId="{04D27463-C320-4E31-9EB9-D90B6C38FDC4}"/>
          </ac:spMkLst>
        </pc:spChg>
        <pc:spChg chg="mod">
          <ac:chgData name="Wipada Chanthaweethip" userId="9b1d58b2-9101-4125-9901-bbcec147f2c6" providerId="ADAL" clId="{6071432F-9294-4EC0-BA55-2246E426275D}" dt="2021-03-16T01:24:46.264" v="28" actId="164"/>
          <ac:spMkLst>
            <pc:docMk/>
            <pc:sldMk cId="3556942137" sldId="2146846421"/>
            <ac:spMk id="10" creationId="{E98B72D9-22D7-4F00-BD78-A01405E57837}"/>
          </ac:spMkLst>
        </pc:spChg>
        <pc:spChg chg="mod">
          <ac:chgData name="Wipada Chanthaweethip" userId="9b1d58b2-9101-4125-9901-bbcec147f2c6" providerId="ADAL" clId="{6071432F-9294-4EC0-BA55-2246E426275D}" dt="2021-03-16T01:24:46.264" v="28" actId="164"/>
          <ac:spMkLst>
            <pc:docMk/>
            <pc:sldMk cId="3556942137" sldId="2146846421"/>
            <ac:spMk id="11" creationId="{2965123B-4FE0-4C53-BD27-465C62E549A4}"/>
          </ac:spMkLst>
        </pc:spChg>
        <pc:spChg chg="del">
          <ac:chgData name="Wipada Chanthaweethip" userId="9b1d58b2-9101-4125-9901-bbcec147f2c6" providerId="ADAL" clId="{6071432F-9294-4EC0-BA55-2246E426275D}" dt="2021-03-16T01:20:45.104" v="10" actId="478"/>
          <ac:spMkLst>
            <pc:docMk/>
            <pc:sldMk cId="3556942137" sldId="2146846421"/>
            <ac:spMk id="13" creationId="{53FED78B-C1CD-4041-ABF5-4397078BD363}"/>
          </ac:spMkLst>
        </pc:spChg>
        <pc:spChg chg="add mod">
          <ac:chgData name="Wipada Chanthaweethip" userId="9b1d58b2-9101-4125-9901-bbcec147f2c6" providerId="ADAL" clId="{6071432F-9294-4EC0-BA55-2246E426275D}" dt="2021-03-16T03:27:58.898" v="1855" actId="164"/>
          <ac:spMkLst>
            <pc:docMk/>
            <pc:sldMk cId="3556942137" sldId="2146846421"/>
            <ac:spMk id="55" creationId="{20650F77-E2C8-4513-941B-772D3807752C}"/>
          </ac:spMkLst>
        </pc:spChg>
        <pc:spChg chg="add mod topLvl">
          <ac:chgData name="Wipada Chanthaweethip" userId="9b1d58b2-9101-4125-9901-bbcec147f2c6" providerId="ADAL" clId="{6071432F-9294-4EC0-BA55-2246E426275D}" dt="2021-03-16T03:27:58.898" v="1855" actId="164"/>
          <ac:spMkLst>
            <pc:docMk/>
            <pc:sldMk cId="3556942137" sldId="2146846421"/>
            <ac:spMk id="57" creationId="{1C713071-A7D0-4690-8FA9-6F1D443B0E46}"/>
          </ac:spMkLst>
        </pc:spChg>
        <pc:spChg chg="add mod topLvl">
          <ac:chgData name="Wipada Chanthaweethip" userId="9b1d58b2-9101-4125-9901-bbcec147f2c6" providerId="ADAL" clId="{6071432F-9294-4EC0-BA55-2246E426275D}" dt="2021-03-16T03:27:58.898" v="1855" actId="164"/>
          <ac:spMkLst>
            <pc:docMk/>
            <pc:sldMk cId="3556942137" sldId="2146846421"/>
            <ac:spMk id="58" creationId="{1E96439F-9E00-4E20-9951-53629BE2641B}"/>
          </ac:spMkLst>
        </pc:spChg>
        <pc:spChg chg="add mod topLvl">
          <ac:chgData name="Wipada Chanthaweethip" userId="9b1d58b2-9101-4125-9901-bbcec147f2c6" providerId="ADAL" clId="{6071432F-9294-4EC0-BA55-2246E426275D}" dt="2021-03-16T03:27:58.898" v="1855" actId="164"/>
          <ac:spMkLst>
            <pc:docMk/>
            <pc:sldMk cId="3556942137" sldId="2146846421"/>
            <ac:spMk id="59" creationId="{035D3984-5064-4542-9AEB-3E63B5A710BD}"/>
          </ac:spMkLst>
        </pc:spChg>
        <pc:spChg chg="add mod">
          <ac:chgData name="Wipada Chanthaweethip" userId="9b1d58b2-9101-4125-9901-bbcec147f2c6" providerId="ADAL" clId="{6071432F-9294-4EC0-BA55-2246E426275D}" dt="2021-03-16T03:27:58.898" v="1855" actId="164"/>
          <ac:spMkLst>
            <pc:docMk/>
            <pc:sldMk cId="3556942137" sldId="2146846421"/>
            <ac:spMk id="71" creationId="{F6A46BF5-3CDA-4C45-B9ED-69745CF6B887}"/>
          </ac:spMkLst>
        </pc:spChg>
        <pc:spChg chg="add mod">
          <ac:chgData name="Wipada Chanthaweethip" userId="9b1d58b2-9101-4125-9901-bbcec147f2c6" providerId="ADAL" clId="{6071432F-9294-4EC0-BA55-2246E426275D}" dt="2021-03-16T03:27:58.898" v="1855" actId="164"/>
          <ac:spMkLst>
            <pc:docMk/>
            <pc:sldMk cId="3556942137" sldId="2146846421"/>
            <ac:spMk id="81" creationId="{438B48A9-5760-406E-814E-63A70D72AC22}"/>
          </ac:spMkLst>
        </pc:spChg>
        <pc:spChg chg="add mod">
          <ac:chgData name="Wipada Chanthaweethip" userId="9b1d58b2-9101-4125-9901-bbcec147f2c6" providerId="ADAL" clId="{6071432F-9294-4EC0-BA55-2246E426275D}" dt="2021-03-16T03:27:58.898" v="1855" actId="164"/>
          <ac:spMkLst>
            <pc:docMk/>
            <pc:sldMk cId="3556942137" sldId="2146846421"/>
            <ac:spMk id="87" creationId="{A78E6D8F-FB35-435E-A246-787E7D406A63}"/>
          </ac:spMkLst>
        </pc:spChg>
        <pc:spChg chg="add mod">
          <ac:chgData name="Wipada Chanthaweethip" userId="9b1d58b2-9101-4125-9901-bbcec147f2c6" providerId="ADAL" clId="{6071432F-9294-4EC0-BA55-2246E426275D}" dt="2021-03-16T03:27:58.898" v="1855" actId="164"/>
          <ac:spMkLst>
            <pc:docMk/>
            <pc:sldMk cId="3556942137" sldId="2146846421"/>
            <ac:spMk id="88" creationId="{33D89695-974D-41F0-9FA3-E19B7D0C7A9A}"/>
          </ac:spMkLst>
        </pc:spChg>
        <pc:spChg chg="mod">
          <ac:chgData name="Wipada Chanthaweethip" userId="9b1d58b2-9101-4125-9901-bbcec147f2c6" providerId="ADAL" clId="{6071432F-9294-4EC0-BA55-2246E426275D}" dt="2021-03-16T01:35:40.300" v="209" actId="1076"/>
          <ac:spMkLst>
            <pc:docMk/>
            <pc:sldMk cId="3556942137" sldId="2146846421"/>
            <ac:spMk id="342" creationId="{6C84C8E9-F02B-4662-B8A1-9B5149D32C1F}"/>
          </ac:spMkLst>
        </pc:spChg>
        <pc:spChg chg="mod">
          <ac:chgData name="Wipada Chanthaweethip" userId="9b1d58b2-9101-4125-9901-bbcec147f2c6" providerId="ADAL" clId="{6071432F-9294-4EC0-BA55-2246E426275D}" dt="2021-03-16T01:34:26.828" v="188" actId="1076"/>
          <ac:spMkLst>
            <pc:docMk/>
            <pc:sldMk cId="3556942137" sldId="2146846421"/>
            <ac:spMk id="344" creationId="{3F26284E-287C-45CE-BE3B-9A9150294051}"/>
          </ac:spMkLst>
        </pc:spChg>
        <pc:spChg chg="del">
          <ac:chgData name="Wipada Chanthaweethip" userId="9b1d58b2-9101-4125-9901-bbcec147f2c6" providerId="ADAL" clId="{6071432F-9294-4EC0-BA55-2246E426275D}" dt="2021-03-16T01:20:51.142" v="15" actId="478"/>
          <ac:spMkLst>
            <pc:docMk/>
            <pc:sldMk cId="3556942137" sldId="2146846421"/>
            <ac:spMk id="375" creationId="{C5C7CFD7-0180-449B-BF0F-F5AE7BC72423}"/>
          </ac:spMkLst>
        </pc:spChg>
        <pc:spChg chg="del">
          <ac:chgData name="Wipada Chanthaweethip" userId="9b1d58b2-9101-4125-9901-bbcec147f2c6" providerId="ADAL" clId="{6071432F-9294-4EC0-BA55-2246E426275D}" dt="2021-03-16T01:20:48.870" v="13" actId="478"/>
          <ac:spMkLst>
            <pc:docMk/>
            <pc:sldMk cId="3556942137" sldId="2146846421"/>
            <ac:spMk id="381" creationId="{C652B4C5-FE5D-43A1-8763-5E3BF18D019A}"/>
          </ac:spMkLst>
        </pc:spChg>
        <pc:grpChg chg="add mod">
          <ac:chgData name="Wipada Chanthaweethip" userId="9b1d58b2-9101-4125-9901-bbcec147f2c6" providerId="ADAL" clId="{6071432F-9294-4EC0-BA55-2246E426275D}" dt="2021-03-16T01:30:05.303" v="113" actId="1076"/>
          <ac:grpSpMkLst>
            <pc:docMk/>
            <pc:sldMk cId="3556942137" sldId="2146846421"/>
            <ac:grpSpMk id="14" creationId="{2A17F191-8CCF-4914-A106-04FBC1F3E00C}"/>
          </ac:grpSpMkLst>
        </pc:grpChg>
        <pc:grpChg chg="add del mod">
          <ac:chgData name="Wipada Chanthaweethip" userId="9b1d58b2-9101-4125-9901-bbcec147f2c6" providerId="ADAL" clId="{6071432F-9294-4EC0-BA55-2246E426275D}" dt="2021-03-16T01:28:40.576" v="97" actId="165"/>
          <ac:grpSpMkLst>
            <pc:docMk/>
            <pc:sldMk cId="3556942137" sldId="2146846421"/>
            <ac:grpSpMk id="15" creationId="{B0BD8AB2-CD85-4C43-BAA1-6BEDEE27B7CD}"/>
          </ac:grpSpMkLst>
        </pc:grpChg>
        <pc:grpChg chg="add mod">
          <ac:chgData name="Wipada Chanthaweethip" userId="9b1d58b2-9101-4125-9901-bbcec147f2c6" providerId="ADAL" clId="{6071432F-9294-4EC0-BA55-2246E426275D}" dt="2021-03-16T01:28:53.440" v="100" actId="164"/>
          <ac:grpSpMkLst>
            <pc:docMk/>
            <pc:sldMk cId="3556942137" sldId="2146846421"/>
            <ac:grpSpMk id="16" creationId="{F68D8DA2-F25E-4846-9DF1-025AB5E17BA1}"/>
          </ac:grpSpMkLst>
        </pc:grpChg>
        <pc:grpChg chg="add del mod">
          <ac:chgData name="Wipada Chanthaweethip" userId="9b1d58b2-9101-4125-9901-bbcec147f2c6" providerId="ADAL" clId="{6071432F-9294-4EC0-BA55-2246E426275D}" dt="2021-03-16T03:28:00.532" v="1856" actId="21"/>
          <ac:grpSpMkLst>
            <pc:docMk/>
            <pc:sldMk cId="3556942137" sldId="2146846421"/>
            <ac:grpSpMk id="41" creationId="{29447A00-B283-434C-9F1F-2CBA930A2A95}"/>
          </ac:grpSpMkLst>
        </pc:grpChg>
        <pc:grpChg chg="del">
          <ac:chgData name="Wipada Chanthaweethip" userId="9b1d58b2-9101-4125-9901-bbcec147f2c6" providerId="ADAL" clId="{6071432F-9294-4EC0-BA55-2246E426275D}" dt="2021-03-16T01:20:45.958" v="11" actId="478"/>
          <ac:grpSpMkLst>
            <pc:docMk/>
            <pc:sldMk cId="3556942137" sldId="2146846421"/>
            <ac:grpSpMk id="82" creationId="{CEECF9FC-00E3-4049-B7FC-90A0AB02AA95}"/>
          </ac:grpSpMkLst>
        </pc:grpChg>
        <pc:picChg chg="mod">
          <ac:chgData name="Wipada Chanthaweethip" userId="9b1d58b2-9101-4125-9901-bbcec147f2c6" providerId="ADAL" clId="{6071432F-9294-4EC0-BA55-2246E426275D}" dt="2021-03-16T01:24:46.264" v="28" actId="164"/>
          <ac:picMkLst>
            <pc:docMk/>
            <pc:sldMk cId="3556942137" sldId="2146846421"/>
            <ac:picMk id="9" creationId="{D091F185-5DB8-4416-AFC4-742BE957717C}"/>
          </ac:picMkLst>
        </pc:picChg>
        <pc:picChg chg="del">
          <ac:chgData name="Wipada Chanthaweethip" userId="9b1d58b2-9101-4125-9901-bbcec147f2c6" providerId="ADAL" clId="{6071432F-9294-4EC0-BA55-2246E426275D}" dt="2021-03-16T01:20:49.902" v="14" actId="478"/>
          <ac:picMkLst>
            <pc:docMk/>
            <pc:sldMk cId="3556942137" sldId="2146846421"/>
            <ac:picMk id="373" creationId="{4038E7B3-66D7-43BA-A62A-1EED4262A2DD}"/>
          </ac:picMkLst>
        </pc:picChg>
        <pc:cxnChg chg="add mod">
          <ac:chgData name="Wipada Chanthaweethip" userId="9b1d58b2-9101-4125-9901-bbcec147f2c6" providerId="ADAL" clId="{6071432F-9294-4EC0-BA55-2246E426275D}" dt="2021-03-16T03:27:58.898" v="1855" actId="164"/>
          <ac:cxnSpMkLst>
            <pc:docMk/>
            <pc:sldMk cId="3556942137" sldId="2146846421"/>
            <ac:cxnSpMk id="19" creationId="{48458EE6-023D-46E5-8A17-5F98FCD00FEF}"/>
          </ac:cxnSpMkLst>
        </pc:cxnChg>
        <pc:cxnChg chg="add mod">
          <ac:chgData name="Wipada Chanthaweethip" userId="9b1d58b2-9101-4125-9901-bbcec147f2c6" providerId="ADAL" clId="{6071432F-9294-4EC0-BA55-2246E426275D}" dt="2021-03-16T03:27:58.898" v="1855" actId="164"/>
          <ac:cxnSpMkLst>
            <pc:docMk/>
            <pc:sldMk cId="3556942137" sldId="2146846421"/>
            <ac:cxnSpMk id="65" creationId="{4C22E66A-36AE-485C-A2FE-E9C96CB89E60}"/>
          </ac:cxnSpMkLst>
        </pc:cxnChg>
        <pc:cxnChg chg="add mod">
          <ac:chgData name="Wipada Chanthaweethip" userId="9b1d58b2-9101-4125-9901-bbcec147f2c6" providerId="ADAL" clId="{6071432F-9294-4EC0-BA55-2246E426275D}" dt="2021-03-16T03:27:58.898" v="1855" actId="164"/>
          <ac:cxnSpMkLst>
            <pc:docMk/>
            <pc:sldMk cId="3556942137" sldId="2146846421"/>
            <ac:cxnSpMk id="68" creationId="{7A405354-6016-4A37-B487-0D2069FDF0BF}"/>
          </ac:cxnSpMkLst>
        </pc:cxnChg>
      </pc:sldChg>
      <pc:sldChg chg="addSp delSp modSp add del mod">
        <pc:chgData name="Wipada Chanthaweethip" userId="9b1d58b2-9101-4125-9901-bbcec147f2c6" providerId="ADAL" clId="{6071432F-9294-4EC0-BA55-2246E426275D}" dt="2021-03-16T03:47:13.449" v="2252" actId="47"/>
        <pc:sldMkLst>
          <pc:docMk/>
          <pc:sldMk cId="3303777561" sldId="2146846422"/>
        </pc:sldMkLst>
        <pc:spChg chg="del">
          <ac:chgData name="Wipada Chanthaweethip" userId="9b1d58b2-9101-4125-9901-bbcec147f2c6" providerId="ADAL" clId="{6071432F-9294-4EC0-BA55-2246E426275D}" dt="2021-03-16T02:06:25.590" v="313" actId="478"/>
          <ac:spMkLst>
            <pc:docMk/>
            <pc:sldMk cId="3303777561" sldId="2146846422"/>
            <ac:spMk id="3" creationId="{539989C1-6822-4531-8C1B-8BB3BBDA4A2B}"/>
          </ac:spMkLst>
        </pc:spChg>
        <pc:spChg chg="del">
          <ac:chgData name="Wipada Chanthaweethip" userId="9b1d58b2-9101-4125-9901-bbcec147f2c6" providerId="ADAL" clId="{6071432F-9294-4EC0-BA55-2246E426275D}" dt="2021-03-16T02:06:22.014" v="312" actId="478"/>
          <ac:spMkLst>
            <pc:docMk/>
            <pc:sldMk cId="3303777561" sldId="2146846422"/>
            <ac:spMk id="17" creationId="{5AB83551-4D02-47B9-A104-0D6DE305B73B}"/>
          </ac:spMkLst>
        </pc:spChg>
        <pc:spChg chg="mod">
          <ac:chgData name="Wipada Chanthaweethip" userId="9b1d58b2-9101-4125-9901-bbcec147f2c6" providerId="ADAL" clId="{6071432F-9294-4EC0-BA55-2246E426275D}" dt="2021-03-16T02:08:34.303" v="396" actId="1076"/>
          <ac:spMkLst>
            <pc:docMk/>
            <pc:sldMk cId="3303777561" sldId="2146846422"/>
            <ac:spMk id="55" creationId="{20650F77-E2C8-4513-941B-772D3807752C}"/>
          </ac:spMkLst>
        </pc:spChg>
        <pc:spChg chg="mod">
          <ac:chgData name="Wipada Chanthaweethip" userId="9b1d58b2-9101-4125-9901-bbcec147f2c6" providerId="ADAL" clId="{6071432F-9294-4EC0-BA55-2246E426275D}" dt="2021-03-16T02:08:12.676" v="389" actId="1076"/>
          <ac:spMkLst>
            <pc:docMk/>
            <pc:sldMk cId="3303777561" sldId="2146846422"/>
            <ac:spMk id="57" creationId="{1C713071-A7D0-4690-8FA9-6F1D443B0E46}"/>
          </ac:spMkLst>
        </pc:spChg>
        <pc:spChg chg="mod">
          <ac:chgData name="Wipada Chanthaweethip" userId="9b1d58b2-9101-4125-9901-bbcec147f2c6" providerId="ADAL" clId="{6071432F-9294-4EC0-BA55-2246E426275D}" dt="2021-03-16T02:08:12.676" v="389" actId="1076"/>
          <ac:spMkLst>
            <pc:docMk/>
            <pc:sldMk cId="3303777561" sldId="2146846422"/>
            <ac:spMk id="58" creationId="{1E96439F-9E00-4E20-9951-53629BE2641B}"/>
          </ac:spMkLst>
        </pc:spChg>
        <pc:spChg chg="mod">
          <ac:chgData name="Wipada Chanthaweethip" userId="9b1d58b2-9101-4125-9901-bbcec147f2c6" providerId="ADAL" clId="{6071432F-9294-4EC0-BA55-2246E426275D}" dt="2021-03-16T02:08:12.676" v="389" actId="1076"/>
          <ac:spMkLst>
            <pc:docMk/>
            <pc:sldMk cId="3303777561" sldId="2146846422"/>
            <ac:spMk id="59" creationId="{035D3984-5064-4542-9AEB-3E63B5A710BD}"/>
          </ac:spMkLst>
        </pc:spChg>
        <pc:spChg chg="add del mod">
          <ac:chgData name="Wipada Chanthaweethip" userId="9b1d58b2-9101-4125-9901-bbcec147f2c6" providerId="ADAL" clId="{6071432F-9294-4EC0-BA55-2246E426275D}" dt="2021-03-16T03:19:57.314" v="1721" actId="21"/>
          <ac:spMkLst>
            <pc:docMk/>
            <pc:sldMk cId="3303777561" sldId="2146846422"/>
            <ac:spMk id="60" creationId="{B8A0A40D-1A8F-4E43-B0D9-92E6BBD83DA5}"/>
          </ac:spMkLst>
        </pc:spChg>
        <pc:spChg chg="mod">
          <ac:chgData name="Wipada Chanthaweethip" userId="9b1d58b2-9101-4125-9901-bbcec147f2c6" providerId="ADAL" clId="{6071432F-9294-4EC0-BA55-2246E426275D}" dt="2021-03-16T02:08:34.303" v="396" actId="1076"/>
          <ac:spMkLst>
            <pc:docMk/>
            <pc:sldMk cId="3303777561" sldId="2146846422"/>
            <ac:spMk id="71" creationId="{F6A46BF5-3CDA-4C45-B9ED-69745CF6B887}"/>
          </ac:spMkLst>
        </pc:spChg>
        <pc:spChg chg="mod">
          <ac:chgData name="Wipada Chanthaweethip" userId="9b1d58b2-9101-4125-9901-bbcec147f2c6" providerId="ADAL" clId="{6071432F-9294-4EC0-BA55-2246E426275D}" dt="2021-03-16T02:24:46.405" v="493" actId="1076"/>
          <ac:spMkLst>
            <pc:docMk/>
            <pc:sldMk cId="3303777561" sldId="2146846422"/>
            <ac:spMk id="81" creationId="{438B48A9-5760-406E-814E-63A70D72AC22}"/>
          </ac:spMkLst>
        </pc:spChg>
        <pc:spChg chg="mod">
          <ac:chgData name="Wipada Chanthaweethip" userId="9b1d58b2-9101-4125-9901-bbcec147f2c6" providerId="ADAL" clId="{6071432F-9294-4EC0-BA55-2246E426275D}" dt="2021-03-16T02:24:55.093" v="504" actId="1076"/>
          <ac:spMkLst>
            <pc:docMk/>
            <pc:sldMk cId="3303777561" sldId="2146846422"/>
            <ac:spMk id="87" creationId="{A78E6D8F-FB35-435E-A246-787E7D406A63}"/>
          </ac:spMkLst>
        </pc:spChg>
        <pc:spChg chg="mod">
          <ac:chgData name="Wipada Chanthaweethip" userId="9b1d58b2-9101-4125-9901-bbcec147f2c6" providerId="ADAL" clId="{6071432F-9294-4EC0-BA55-2246E426275D}" dt="2021-03-16T02:25:11.969" v="521" actId="1076"/>
          <ac:spMkLst>
            <pc:docMk/>
            <pc:sldMk cId="3303777561" sldId="2146846422"/>
            <ac:spMk id="88" creationId="{33D89695-974D-41F0-9FA3-E19B7D0C7A9A}"/>
          </ac:spMkLst>
        </pc:spChg>
        <pc:spChg chg="mod">
          <ac:chgData name="Wipada Chanthaweethip" userId="9b1d58b2-9101-4125-9901-bbcec147f2c6" providerId="ADAL" clId="{6071432F-9294-4EC0-BA55-2246E426275D}" dt="2021-03-16T02:07:20.247" v="331" actId="1076"/>
          <ac:spMkLst>
            <pc:docMk/>
            <pc:sldMk cId="3303777561" sldId="2146846422"/>
            <ac:spMk id="342" creationId="{6C84C8E9-F02B-4662-B8A1-9B5149D32C1F}"/>
          </ac:spMkLst>
        </pc:spChg>
        <pc:spChg chg="mod">
          <ac:chgData name="Wipada Chanthaweethip" userId="9b1d58b2-9101-4125-9901-bbcec147f2c6" providerId="ADAL" clId="{6071432F-9294-4EC0-BA55-2246E426275D}" dt="2021-03-16T02:08:28.414" v="395" actId="1076"/>
          <ac:spMkLst>
            <pc:docMk/>
            <pc:sldMk cId="3303777561" sldId="2146846422"/>
            <ac:spMk id="344" creationId="{3F26284E-287C-45CE-BE3B-9A9150294051}"/>
          </ac:spMkLst>
        </pc:spChg>
        <pc:spChg chg="mod">
          <ac:chgData name="Wipada Chanthaweethip" userId="9b1d58b2-9101-4125-9901-bbcec147f2c6" providerId="ADAL" clId="{6071432F-9294-4EC0-BA55-2246E426275D}" dt="2021-03-16T02:08:20.793" v="391" actId="1076"/>
          <ac:spMkLst>
            <pc:docMk/>
            <pc:sldMk cId="3303777561" sldId="2146846422"/>
            <ac:spMk id="358" creationId="{9FA4CE44-18BC-49AB-AF76-7E72F4A7C9FD}"/>
          </ac:spMkLst>
        </pc:spChg>
        <pc:spChg chg="mod">
          <ac:chgData name="Wipada Chanthaweethip" userId="9b1d58b2-9101-4125-9901-bbcec147f2c6" providerId="ADAL" clId="{6071432F-9294-4EC0-BA55-2246E426275D}" dt="2021-03-16T02:08:16.812" v="390" actId="1076"/>
          <ac:spMkLst>
            <pc:docMk/>
            <pc:sldMk cId="3303777561" sldId="2146846422"/>
            <ac:spMk id="370" creationId="{A3BDBF95-9A73-4F40-AB13-0715C9DD974E}"/>
          </ac:spMkLst>
        </pc:spChg>
        <pc:spChg chg="mod">
          <ac:chgData name="Wipada Chanthaweethip" userId="9b1d58b2-9101-4125-9901-bbcec147f2c6" providerId="ADAL" clId="{6071432F-9294-4EC0-BA55-2246E426275D}" dt="2021-03-16T02:07:49.643" v="386" actId="1076"/>
          <ac:spMkLst>
            <pc:docMk/>
            <pc:sldMk cId="3303777561" sldId="2146846422"/>
            <ac:spMk id="371" creationId="{2EA07D12-9E35-4A3D-B1BD-94CFF2E7B0A5}"/>
          </ac:spMkLst>
        </pc:spChg>
        <pc:cxnChg chg="del">
          <ac:chgData name="Wipada Chanthaweethip" userId="9b1d58b2-9101-4125-9901-bbcec147f2c6" providerId="ADAL" clId="{6071432F-9294-4EC0-BA55-2246E426275D}" dt="2021-03-16T02:06:18.893" v="311" actId="478"/>
          <ac:cxnSpMkLst>
            <pc:docMk/>
            <pc:sldMk cId="3303777561" sldId="2146846422"/>
            <ac:cxnSpMk id="7" creationId="{1A3C8173-2E2F-4042-8B83-93FD11E857B4}"/>
          </ac:cxnSpMkLst>
        </pc:cxnChg>
        <pc:cxnChg chg="del mod">
          <ac:chgData name="Wipada Chanthaweethip" userId="9b1d58b2-9101-4125-9901-bbcec147f2c6" providerId="ADAL" clId="{6071432F-9294-4EC0-BA55-2246E426275D}" dt="2021-03-16T02:07:03.262" v="328" actId="478"/>
          <ac:cxnSpMkLst>
            <pc:docMk/>
            <pc:sldMk cId="3303777561" sldId="2146846422"/>
            <ac:cxnSpMk id="19" creationId="{48458EE6-023D-46E5-8A17-5F98FCD00FEF}"/>
          </ac:cxnSpMkLst>
        </pc:cxnChg>
        <pc:cxnChg chg="del mod">
          <ac:chgData name="Wipada Chanthaweethip" userId="9b1d58b2-9101-4125-9901-bbcec147f2c6" providerId="ADAL" clId="{6071432F-9294-4EC0-BA55-2246E426275D}" dt="2021-03-16T02:07:02.558" v="327" actId="478"/>
          <ac:cxnSpMkLst>
            <pc:docMk/>
            <pc:sldMk cId="3303777561" sldId="2146846422"/>
            <ac:cxnSpMk id="65" creationId="{4C22E66A-36AE-485C-A2FE-E9C96CB89E60}"/>
          </ac:cxnSpMkLst>
        </pc:cxnChg>
        <pc:cxnChg chg="del mod">
          <ac:chgData name="Wipada Chanthaweethip" userId="9b1d58b2-9101-4125-9901-bbcec147f2c6" providerId="ADAL" clId="{6071432F-9294-4EC0-BA55-2246E426275D}" dt="2021-03-16T02:07:01.789" v="326" actId="478"/>
          <ac:cxnSpMkLst>
            <pc:docMk/>
            <pc:sldMk cId="3303777561" sldId="2146846422"/>
            <ac:cxnSpMk id="68" creationId="{7A405354-6016-4A37-B487-0D2069FDF0BF}"/>
          </ac:cxnSpMkLst>
        </pc:cxnChg>
      </pc:sldChg>
      <pc:sldChg chg="addSp delSp modSp add mod">
        <pc:chgData name="Wipada Chanthaweethip" userId="9b1d58b2-9101-4125-9901-bbcec147f2c6" providerId="ADAL" clId="{6071432F-9294-4EC0-BA55-2246E426275D}" dt="2021-03-16T06:36:58.058" v="2699" actId="208"/>
        <pc:sldMkLst>
          <pc:docMk/>
          <pc:sldMk cId="898528077" sldId="2146846423"/>
        </pc:sldMkLst>
        <pc:spChg chg="mod topLvl">
          <ac:chgData name="Wipada Chanthaweethip" userId="9b1d58b2-9101-4125-9901-bbcec147f2c6" providerId="ADAL" clId="{6071432F-9294-4EC0-BA55-2246E426275D}" dt="2021-03-16T04:02:12.215" v="2608" actId="165"/>
          <ac:spMkLst>
            <pc:docMk/>
            <pc:sldMk cId="898528077" sldId="2146846423"/>
            <ac:spMk id="4" creationId="{3106D8F3-0136-4469-BB75-3CA9BA14117A}"/>
          </ac:spMkLst>
        </pc:spChg>
        <pc:spChg chg="add mod ord topLvl">
          <ac:chgData name="Wipada Chanthaweethip" userId="9b1d58b2-9101-4125-9901-bbcec147f2c6" providerId="ADAL" clId="{6071432F-9294-4EC0-BA55-2246E426275D}" dt="2021-03-16T04:02:12.215" v="2608" actId="165"/>
          <ac:spMkLst>
            <pc:docMk/>
            <pc:sldMk cId="898528077" sldId="2146846423"/>
            <ac:spMk id="8" creationId="{B44CF54E-5B81-4DDC-9887-BABE492DF040}"/>
          </ac:spMkLst>
        </pc:spChg>
        <pc:spChg chg="add mod topLvl">
          <ac:chgData name="Wipada Chanthaweethip" userId="9b1d58b2-9101-4125-9901-bbcec147f2c6" providerId="ADAL" clId="{6071432F-9294-4EC0-BA55-2246E426275D}" dt="2021-03-16T04:02:12.215" v="2608" actId="165"/>
          <ac:spMkLst>
            <pc:docMk/>
            <pc:sldMk cId="898528077" sldId="2146846423"/>
            <ac:spMk id="9" creationId="{3DBD1327-197B-444A-A563-FF0A811E5064}"/>
          </ac:spMkLst>
        </pc:spChg>
        <pc:spChg chg="del mod">
          <ac:chgData name="Wipada Chanthaweethip" userId="9b1d58b2-9101-4125-9901-bbcec147f2c6" providerId="ADAL" clId="{6071432F-9294-4EC0-BA55-2246E426275D}" dt="2021-03-16T02:27:23.026" v="563" actId="21"/>
          <ac:spMkLst>
            <pc:docMk/>
            <pc:sldMk cId="898528077" sldId="2146846423"/>
            <ac:spMk id="18" creationId="{AAB76947-EF5F-46C8-8E71-0B7EE7BDB44D}"/>
          </ac:spMkLst>
        </pc:spChg>
        <pc:spChg chg="mod topLvl">
          <ac:chgData name="Wipada Chanthaweethip" userId="9b1d58b2-9101-4125-9901-bbcec147f2c6" providerId="ADAL" clId="{6071432F-9294-4EC0-BA55-2246E426275D}" dt="2021-03-16T04:02:12.215" v="2608" actId="165"/>
          <ac:spMkLst>
            <pc:docMk/>
            <pc:sldMk cId="898528077" sldId="2146846423"/>
            <ac:spMk id="19" creationId="{87CF505F-FD28-4A7B-B070-F139B01D04CC}"/>
          </ac:spMkLst>
        </pc:spChg>
        <pc:spChg chg="mod topLvl">
          <ac:chgData name="Wipada Chanthaweethip" userId="9b1d58b2-9101-4125-9901-bbcec147f2c6" providerId="ADAL" clId="{6071432F-9294-4EC0-BA55-2246E426275D}" dt="2021-03-16T06:36:52.666" v="2698" actId="208"/>
          <ac:spMkLst>
            <pc:docMk/>
            <pc:sldMk cId="898528077" sldId="2146846423"/>
            <ac:spMk id="20" creationId="{AD1AD0BB-5EF0-4D6E-AD1B-D1C319E47D6F}"/>
          </ac:spMkLst>
        </pc:spChg>
        <pc:spChg chg="mod topLvl">
          <ac:chgData name="Wipada Chanthaweethip" userId="9b1d58b2-9101-4125-9901-bbcec147f2c6" providerId="ADAL" clId="{6071432F-9294-4EC0-BA55-2246E426275D}" dt="2021-03-16T06:36:58.058" v="2699" actId="208"/>
          <ac:spMkLst>
            <pc:docMk/>
            <pc:sldMk cId="898528077" sldId="2146846423"/>
            <ac:spMk id="21" creationId="{C45F5569-3DE4-49E7-989B-F624E8B0158A}"/>
          </ac:spMkLst>
        </pc:spChg>
        <pc:spChg chg="mod topLvl">
          <ac:chgData name="Wipada Chanthaweethip" userId="9b1d58b2-9101-4125-9901-bbcec147f2c6" providerId="ADAL" clId="{6071432F-9294-4EC0-BA55-2246E426275D}" dt="2021-03-16T06:36:58.058" v="2699" actId="208"/>
          <ac:spMkLst>
            <pc:docMk/>
            <pc:sldMk cId="898528077" sldId="2146846423"/>
            <ac:spMk id="22" creationId="{13A6139E-0A34-4803-A17E-6FDD61E011F7}"/>
          </ac:spMkLst>
        </pc:spChg>
        <pc:spChg chg="mod topLvl">
          <ac:chgData name="Wipada Chanthaweethip" userId="9b1d58b2-9101-4125-9901-bbcec147f2c6" providerId="ADAL" clId="{6071432F-9294-4EC0-BA55-2246E426275D}" dt="2021-03-16T06:36:58.058" v="2699" actId="208"/>
          <ac:spMkLst>
            <pc:docMk/>
            <pc:sldMk cId="898528077" sldId="2146846423"/>
            <ac:spMk id="23" creationId="{86DFCC37-64E3-40FF-AF5D-095FAEC94E7D}"/>
          </ac:spMkLst>
        </pc:spChg>
        <pc:spChg chg="mod topLvl">
          <ac:chgData name="Wipada Chanthaweethip" userId="9b1d58b2-9101-4125-9901-bbcec147f2c6" providerId="ADAL" clId="{6071432F-9294-4EC0-BA55-2246E426275D}" dt="2021-03-16T04:02:12.215" v="2608" actId="165"/>
          <ac:spMkLst>
            <pc:docMk/>
            <pc:sldMk cId="898528077" sldId="2146846423"/>
            <ac:spMk id="27" creationId="{CF4DF96B-7A0E-4F20-AE1D-EECCC2F1E11F}"/>
          </ac:spMkLst>
        </pc:spChg>
        <pc:spChg chg="mod topLvl">
          <ac:chgData name="Wipada Chanthaweethip" userId="9b1d58b2-9101-4125-9901-bbcec147f2c6" providerId="ADAL" clId="{6071432F-9294-4EC0-BA55-2246E426275D}" dt="2021-03-16T04:02:12.215" v="2608" actId="165"/>
          <ac:spMkLst>
            <pc:docMk/>
            <pc:sldMk cId="898528077" sldId="2146846423"/>
            <ac:spMk id="28" creationId="{1731FCFC-4EB4-4B69-86F9-A85892C3E8C5}"/>
          </ac:spMkLst>
        </pc:spChg>
        <pc:spChg chg="mod topLvl">
          <ac:chgData name="Wipada Chanthaweethip" userId="9b1d58b2-9101-4125-9901-bbcec147f2c6" providerId="ADAL" clId="{6071432F-9294-4EC0-BA55-2246E426275D}" dt="2021-03-16T04:02:12.215" v="2608" actId="165"/>
          <ac:spMkLst>
            <pc:docMk/>
            <pc:sldMk cId="898528077" sldId="2146846423"/>
            <ac:spMk id="29" creationId="{D0C73C54-A7D2-43BC-8D76-5F955EBEF711}"/>
          </ac:spMkLst>
        </pc:spChg>
        <pc:spChg chg="mod topLvl">
          <ac:chgData name="Wipada Chanthaweethip" userId="9b1d58b2-9101-4125-9901-bbcec147f2c6" providerId="ADAL" clId="{6071432F-9294-4EC0-BA55-2246E426275D}" dt="2021-03-16T04:02:12.215" v="2608" actId="165"/>
          <ac:spMkLst>
            <pc:docMk/>
            <pc:sldMk cId="898528077" sldId="2146846423"/>
            <ac:spMk id="30" creationId="{9C45373B-4CF5-428E-B686-13407C50EAA6}"/>
          </ac:spMkLst>
        </pc:spChg>
        <pc:spChg chg="add mod topLvl">
          <ac:chgData name="Wipada Chanthaweethip" userId="9b1d58b2-9101-4125-9901-bbcec147f2c6" providerId="ADAL" clId="{6071432F-9294-4EC0-BA55-2246E426275D}" dt="2021-03-16T04:02:12.215" v="2608" actId="165"/>
          <ac:spMkLst>
            <pc:docMk/>
            <pc:sldMk cId="898528077" sldId="2146846423"/>
            <ac:spMk id="33" creationId="{A4DC659C-2B54-4F89-93F5-4BB19B2EFE1E}"/>
          </ac:spMkLst>
        </pc:spChg>
        <pc:spChg chg="add mod topLvl">
          <ac:chgData name="Wipada Chanthaweethip" userId="9b1d58b2-9101-4125-9901-bbcec147f2c6" providerId="ADAL" clId="{6071432F-9294-4EC0-BA55-2246E426275D}" dt="2021-03-16T04:02:12.215" v="2608" actId="165"/>
          <ac:spMkLst>
            <pc:docMk/>
            <pc:sldMk cId="898528077" sldId="2146846423"/>
            <ac:spMk id="34" creationId="{D44AB07F-1B6A-4B69-9634-72FC8C038A40}"/>
          </ac:spMkLst>
        </pc:spChg>
        <pc:spChg chg="mod topLvl">
          <ac:chgData name="Wipada Chanthaweethip" userId="9b1d58b2-9101-4125-9901-bbcec147f2c6" providerId="ADAL" clId="{6071432F-9294-4EC0-BA55-2246E426275D}" dt="2021-03-16T04:02:12.215" v="2608" actId="165"/>
          <ac:spMkLst>
            <pc:docMk/>
            <pc:sldMk cId="898528077" sldId="2146846423"/>
            <ac:spMk id="35" creationId="{BCDDAA8A-5314-4374-AE63-E924F9BC1A9C}"/>
          </ac:spMkLst>
        </pc:spChg>
        <pc:spChg chg="add mod">
          <ac:chgData name="Wipada Chanthaweethip" userId="9b1d58b2-9101-4125-9901-bbcec147f2c6" providerId="ADAL" clId="{6071432F-9294-4EC0-BA55-2246E426275D}" dt="2021-03-16T02:47:46.126" v="1121" actId="1076"/>
          <ac:spMkLst>
            <pc:docMk/>
            <pc:sldMk cId="898528077" sldId="2146846423"/>
            <ac:spMk id="36" creationId="{91028DC9-BA6D-4854-B91B-7ED6136F1DA0}"/>
          </ac:spMkLst>
        </pc:spChg>
        <pc:grpChg chg="add del mod">
          <ac:chgData name="Wipada Chanthaweethip" userId="9b1d58b2-9101-4125-9901-bbcec147f2c6" providerId="ADAL" clId="{6071432F-9294-4EC0-BA55-2246E426275D}" dt="2021-03-16T04:02:12.215" v="2608" actId="165"/>
          <ac:grpSpMkLst>
            <pc:docMk/>
            <pc:sldMk cId="898528077" sldId="2146846423"/>
            <ac:grpSpMk id="10" creationId="{3C448C8B-B48D-4703-B91A-65AF0897CD2A}"/>
          </ac:grpSpMkLst>
        </pc:grpChg>
        <pc:picChg chg="mod topLvl">
          <ac:chgData name="Wipada Chanthaweethip" userId="9b1d58b2-9101-4125-9901-bbcec147f2c6" providerId="ADAL" clId="{6071432F-9294-4EC0-BA55-2246E426275D}" dt="2021-03-16T04:02:12.215" v="2608" actId="165"/>
          <ac:picMkLst>
            <pc:docMk/>
            <pc:sldMk cId="898528077" sldId="2146846423"/>
            <ac:picMk id="5" creationId="{061CAA94-C70D-4424-89F9-56007F9AEABF}"/>
          </ac:picMkLst>
        </pc:picChg>
        <pc:cxnChg chg="del mod">
          <ac:chgData name="Wipada Chanthaweethip" userId="9b1d58b2-9101-4125-9901-bbcec147f2c6" providerId="ADAL" clId="{6071432F-9294-4EC0-BA55-2246E426275D}" dt="2021-03-16T02:26:02.468" v="536" actId="478"/>
          <ac:cxnSpMkLst>
            <pc:docMk/>
            <pc:sldMk cId="898528077" sldId="2146846423"/>
            <ac:cxnSpMk id="24" creationId="{0D247628-7C80-4910-888A-93CE00B151B9}"/>
          </ac:cxnSpMkLst>
        </pc:cxnChg>
        <pc:cxnChg chg="del mod">
          <ac:chgData name="Wipada Chanthaweethip" userId="9b1d58b2-9101-4125-9901-bbcec147f2c6" providerId="ADAL" clId="{6071432F-9294-4EC0-BA55-2246E426275D}" dt="2021-03-16T02:26:11.844" v="538" actId="478"/>
          <ac:cxnSpMkLst>
            <pc:docMk/>
            <pc:sldMk cId="898528077" sldId="2146846423"/>
            <ac:cxnSpMk id="25" creationId="{D91107C2-14AF-481F-91BB-CCD9E9D2ADA2}"/>
          </ac:cxnSpMkLst>
        </pc:cxnChg>
        <pc:cxnChg chg="del mod">
          <ac:chgData name="Wipada Chanthaweethip" userId="9b1d58b2-9101-4125-9901-bbcec147f2c6" providerId="ADAL" clId="{6071432F-9294-4EC0-BA55-2246E426275D}" dt="2021-03-16T02:26:42.043" v="554" actId="478"/>
          <ac:cxnSpMkLst>
            <pc:docMk/>
            <pc:sldMk cId="898528077" sldId="2146846423"/>
            <ac:cxnSpMk id="26" creationId="{1ACD462D-5C4D-474C-BF2C-AFA033D9509D}"/>
          </ac:cxnSpMkLst>
        </pc:cxnChg>
        <pc:cxnChg chg="add mod topLvl">
          <ac:chgData name="Wipada Chanthaweethip" userId="9b1d58b2-9101-4125-9901-bbcec147f2c6" providerId="ADAL" clId="{6071432F-9294-4EC0-BA55-2246E426275D}" dt="2021-03-16T04:02:12.215" v="2608" actId="165"/>
          <ac:cxnSpMkLst>
            <pc:docMk/>
            <pc:sldMk cId="898528077" sldId="2146846423"/>
            <ac:cxnSpMk id="31" creationId="{0485D589-4886-4035-929C-1A09C3363A34}"/>
          </ac:cxnSpMkLst>
        </pc:cxnChg>
        <pc:cxnChg chg="mod topLvl">
          <ac:chgData name="Wipada Chanthaweethip" userId="9b1d58b2-9101-4125-9901-bbcec147f2c6" providerId="ADAL" clId="{6071432F-9294-4EC0-BA55-2246E426275D}" dt="2021-03-16T04:02:12.215" v="2608" actId="165"/>
          <ac:cxnSpMkLst>
            <pc:docMk/>
            <pc:sldMk cId="898528077" sldId="2146846423"/>
            <ac:cxnSpMk id="32" creationId="{E69F9B06-09F2-43BD-9A9E-E6EF8A298F3C}"/>
          </ac:cxnSpMkLst>
        </pc:cxnChg>
      </pc:sldChg>
      <pc:sldChg chg="addSp delSp modSp new del mod ord">
        <pc:chgData name="Wipada Chanthaweethip" userId="9b1d58b2-9101-4125-9901-bbcec147f2c6" providerId="ADAL" clId="{6071432F-9294-4EC0-BA55-2246E426275D}" dt="2021-03-22T03:17:05.744" v="2739" actId="47"/>
        <pc:sldMkLst>
          <pc:docMk/>
          <pc:sldMk cId="1738827213" sldId="2146846424"/>
        </pc:sldMkLst>
        <pc:spChg chg="mod">
          <ac:chgData name="Wipada Chanthaweethip" userId="9b1d58b2-9101-4125-9901-bbcec147f2c6" providerId="ADAL" clId="{6071432F-9294-4EC0-BA55-2246E426275D}" dt="2021-03-16T02:48:00.079" v="1135" actId="20577"/>
          <ac:spMkLst>
            <pc:docMk/>
            <pc:sldMk cId="1738827213" sldId="2146846424"/>
            <ac:spMk id="2" creationId="{B2058728-162B-4040-BD44-62E797B48D7D}"/>
          </ac:spMkLst>
        </pc:spChg>
        <pc:spChg chg="add del mod">
          <ac:chgData name="Wipada Chanthaweethip" userId="9b1d58b2-9101-4125-9901-bbcec147f2c6" providerId="ADAL" clId="{6071432F-9294-4EC0-BA55-2246E426275D}" dt="2021-03-16T03:17:14.033" v="1616" actId="478"/>
          <ac:spMkLst>
            <pc:docMk/>
            <pc:sldMk cId="1738827213" sldId="2146846424"/>
            <ac:spMk id="3" creationId="{3D4B41C0-106E-4EAC-BF9A-142EA2005276}"/>
          </ac:spMkLst>
        </pc:spChg>
        <pc:spChg chg="add del mod">
          <ac:chgData name="Wipada Chanthaweethip" userId="9b1d58b2-9101-4125-9901-bbcec147f2c6" providerId="ADAL" clId="{6071432F-9294-4EC0-BA55-2246E426275D}" dt="2021-03-16T03:06:49.172" v="1363" actId="478"/>
          <ac:spMkLst>
            <pc:docMk/>
            <pc:sldMk cId="1738827213" sldId="2146846424"/>
            <ac:spMk id="4" creationId="{C10CA85A-08F4-44A8-90C4-BE161F674B0C}"/>
          </ac:spMkLst>
        </pc:spChg>
        <pc:spChg chg="add del mod">
          <ac:chgData name="Wipada Chanthaweethip" userId="9b1d58b2-9101-4125-9901-bbcec147f2c6" providerId="ADAL" clId="{6071432F-9294-4EC0-BA55-2246E426275D}" dt="2021-03-16T03:17:16.393" v="1617" actId="478"/>
          <ac:spMkLst>
            <pc:docMk/>
            <pc:sldMk cId="1738827213" sldId="2146846424"/>
            <ac:spMk id="5" creationId="{CFE53263-1E6C-4314-83DC-DEBBC309B099}"/>
          </ac:spMkLst>
        </pc:spChg>
        <pc:spChg chg="add del mod">
          <ac:chgData name="Wipada Chanthaweethip" userId="9b1d58b2-9101-4125-9901-bbcec147f2c6" providerId="ADAL" clId="{6071432F-9294-4EC0-BA55-2246E426275D}" dt="2021-03-16T03:18:02.115" v="1654" actId="478"/>
          <ac:spMkLst>
            <pc:docMk/>
            <pc:sldMk cId="1738827213" sldId="2146846424"/>
            <ac:spMk id="6" creationId="{BD2ECB50-AA49-4434-89B9-F303C9AF5A73}"/>
          </ac:spMkLst>
        </pc:spChg>
        <pc:spChg chg="add mod">
          <ac:chgData name="Wipada Chanthaweethip" userId="9b1d58b2-9101-4125-9901-bbcec147f2c6" providerId="ADAL" clId="{6071432F-9294-4EC0-BA55-2246E426275D}" dt="2021-03-16T06:34:21.918" v="2682" actId="20577"/>
          <ac:spMkLst>
            <pc:docMk/>
            <pc:sldMk cId="1738827213" sldId="2146846424"/>
            <ac:spMk id="7" creationId="{ED63F31B-C570-4390-8064-CBCAEBAAE8E3}"/>
          </ac:spMkLst>
        </pc:spChg>
        <pc:spChg chg="add mod">
          <ac:chgData name="Wipada Chanthaweethip" userId="9b1d58b2-9101-4125-9901-bbcec147f2c6" providerId="ADAL" clId="{6071432F-9294-4EC0-BA55-2246E426275D}" dt="2021-03-16T03:19:35.912" v="1716" actId="1076"/>
          <ac:spMkLst>
            <pc:docMk/>
            <pc:sldMk cId="1738827213" sldId="2146846424"/>
            <ac:spMk id="11" creationId="{8667D51A-42DA-40B2-BF31-715DD08FCACA}"/>
          </ac:spMkLst>
        </pc:spChg>
        <pc:spChg chg="add del mod">
          <ac:chgData name="Wipada Chanthaweethip" userId="9b1d58b2-9101-4125-9901-bbcec147f2c6" providerId="ADAL" clId="{6071432F-9294-4EC0-BA55-2246E426275D}" dt="2021-03-16T03:24:21.839" v="1806" actId="21"/>
          <ac:spMkLst>
            <pc:docMk/>
            <pc:sldMk cId="1738827213" sldId="2146846424"/>
            <ac:spMk id="13" creationId="{0D233286-F990-4245-8017-0522348D76DA}"/>
          </ac:spMkLst>
        </pc:spChg>
        <pc:spChg chg="add mod">
          <ac:chgData name="Wipada Chanthaweethip" userId="9b1d58b2-9101-4125-9901-bbcec147f2c6" providerId="ADAL" clId="{6071432F-9294-4EC0-BA55-2246E426275D}" dt="2021-03-16T03:15:43.138" v="1541" actId="164"/>
          <ac:spMkLst>
            <pc:docMk/>
            <pc:sldMk cId="1738827213" sldId="2146846424"/>
            <ac:spMk id="14" creationId="{96460585-F4C3-4DDC-8A41-58E0A9DCDC45}"/>
          </ac:spMkLst>
        </pc:spChg>
        <pc:spChg chg="add mod">
          <ac:chgData name="Wipada Chanthaweethip" userId="9b1d58b2-9101-4125-9901-bbcec147f2c6" providerId="ADAL" clId="{6071432F-9294-4EC0-BA55-2246E426275D}" dt="2021-03-16T03:15:40.475" v="1540" actId="164"/>
          <ac:spMkLst>
            <pc:docMk/>
            <pc:sldMk cId="1738827213" sldId="2146846424"/>
            <ac:spMk id="15" creationId="{4C5C69C1-8B17-430A-8FD8-BFDDE1E5C5BA}"/>
          </ac:spMkLst>
        </pc:spChg>
        <pc:spChg chg="add mod">
          <ac:chgData name="Wipada Chanthaweethip" userId="9b1d58b2-9101-4125-9901-bbcec147f2c6" providerId="ADAL" clId="{6071432F-9294-4EC0-BA55-2246E426275D}" dt="2021-03-16T03:15:43.138" v="1541" actId="164"/>
          <ac:spMkLst>
            <pc:docMk/>
            <pc:sldMk cId="1738827213" sldId="2146846424"/>
            <ac:spMk id="16" creationId="{8D60AE60-8DDC-4A53-8FB2-39C886E3AA12}"/>
          </ac:spMkLst>
        </pc:spChg>
        <pc:spChg chg="add mod">
          <ac:chgData name="Wipada Chanthaweethip" userId="9b1d58b2-9101-4125-9901-bbcec147f2c6" providerId="ADAL" clId="{6071432F-9294-4EC0-BA55-2246E426275D}" dt="2021-03-16T03:15:40.475" v="1540" actId="164"/>
          <ac:spMkLst>
            <pc:docMk/>
            <pc:sldMk cId="1738827213" sldId="2146846424"/>
            <ac:spMk id="17" creationId="{281BB830-6AE0-4956-BF17-AB98ED834EB1}"/>
          </ac:spMkLst>
        </pc:spChg>
        <pc:spChg chg="add del mod">
          <ac:chgData name="Wipada Chanthaweethip" userId="9b1d58b2-9101-4125-9901-bbcec147f2c6" providerId="ADAL" clId="{6071432F-9294-4EC0-BA55-2246E426275D}" dt="2021-03-16T03:24:33.818" v="1815" actId="21"/>
          <ac:spMkLst>
            <pc:docMk/>
            <pc:sldMk cId="1738827213" sldId="2146846424"/>
            <ac:spMk id="20" creationId="{6971AD3E-254D-4B6F-A64A-16FE01018066}"/>
          </ac:spMkLst>
        </pc:spChg>
        <pc:spChg chg="mod">
          <ac:chgData name="Wipada Chanthaweethip" userId="9b1d58b2-9101-4125-9901-bbcec147f2c6" providerId="ADAL" clId="{6071432F-9294-4EC0-BA55-2246E426275D}" dt="2021-03-16T03:16:57.321" v="1612"/>
          <ac:spMkLst>
            <pc:docMk/>
            <pc:sldMk cId="1738827213" sldId="2146846424"/>
            <ac:spMk id="22" creationId="{F4B7D8A4-A35F-449F-BE1B-DF164981DDC8}"/>
          </ac:spMkLst>
        </pc:spChg>
        <pc:spChg chg="mod">
          <ac:chgData name="Wipada Chanthaweethip" userId="9b1d58b2-9101-4125-9901-bbcec147f2c6" providerId="ADAL" clId="{6071432F-9294-4EC0-BA55-2246E426275D}" dt="2021-03-16T03:16:57.321" v="1612"/>
          <ac:spMkLst>
            <pc:docMk/>
            <pc:sldMk cId="1738827213" sldId="2146846424"/>
            <ac:spMk id="23" creationId="{AA009B1C-177A-4814-A797-EBFBE1AA6EBA}"/>
          </ac:spMkLst>
        </pc:spChg>
        <pc:spChg chg="mod">
          <ac:chgData name="Wipada Chanthaweethip" userId="9b1d58b2-9101-4125-9901-bbcec147f2c6" providerId="ADAL" clId="{6071432F-9294-4EC0-BA55-2246E426275D}" dt="2021-03-16T03:17:02.211" v="1614"/>
          <ac:spMkLst>
            <pc:docMk/>
            <pc:sldMk cId="1738827213" sldId="2146846424"/>
            <ac:spMk id="25" creationId="{4B044162-8237-4C83-B141-EFB40786985E}"/>
          </ac:spMkLst>
        </pc:spChg>
        <pc:spChg chg="mod">
          <ac:chgData name="Wipada Chanthaweethip" userId="9b1d58b2-9101-4125-9901-bbcec147f2c6" providerId="ADAL" clId="{6071432F-9294-4EC0-BA55-2246E426275D}" dt="2021-03-16T03:17:02.211" v="1614"/>
          <ac:spMkLst>
            <pc:docMk/>
            <pc:sldMk cId="1738827213" sldId="2146846424"/>
            <ac:spMk id="26" creationId="{2BE28DEB-A58A-4961-B888-12E7467C5299}"/>
          </ac:spMkLst>
        </pc:spChg>
        <pc:spChg chg="add del mod">
          <ac:chgData name="Wipada Chanthaweethip" userId="9b1d58b2-9101-4125-9901-bbcec147f2c6" providerId="ADAL" clId="{6071432F-9294-4EC0-BA55-2246E426275D}" dt="2021-03-16T03:24:50.812" v="1832" actId="21"/>
          <ac:spMkLst>
            <pc:docMk/>
            <pc:sldMk cId="1738827213" sldId="2146846424"/>
            <ac:spMk id="27" creationId="{4B8A90F6-7FFE-415B-ADDD-F8D0E53BD106}"/>
          </ac:spMkLst>
        </pc:spChg>
        <pc:spChg chg="mod">
          <ac:chgData name="Wipada Chanthaweethip" userId="9b1d58b2-9101-4125-9901-bbcec147f2c6" providerId="ADAL" clId="{6071432F-9294-4EC0-BA55-2246E426275D}" dt="2021-03-16T03:17:37.795" v="1650"/>
          <ac:spMkLst>
            <pc:docMk/>
            <pc:sldMk cId="1738827213" sldId="2146846424"/>
            <ac:spMk id="29" creationId="{EF67AAE7-149B-4BA5-87AD-AB0A0C6D16BC}"/>
          </ac:spMkLst>
        </pc:spChg>
        <pc:spChg chg="mod">
          <ac:chgData name="Wipada Chanthaweethip" userId="9b1d58b2-9101-4125-9901-bbcec147f2c6" providerId="ADAL" clId="{6071432F-9294-4EC0-BA55-2246E426275D}" dt="2021-03-16T03:17:37.795" v="1650"/>
          <ac:spMkLst>
            <pc:docMk/>
            <pc:sldMk cId="1738827213" sldId="2146846424"/>
            <ac:spMk id="30" creationId="{1A141DF0-680B-4E58-8911-4EB997628BC0}"/>
          </ac:spMkLst>
        </pc:spChg>
        <pc:spChg chg="mod">
          <ac:chgData name="Wipada Chanthaweethip" userId="9b1d58b2-9101-4125-9901-bbcec147f2c6" providerId="ADAL" clId="{6071432F-9294-4EC0-BA55-2246E426275D}" dt="2021-03-16T03:17:42.617" v="1652"/>
          <ac:spMkLst>
            <pc:docMk/>
            <pc:sldMk cId="1738827213" sldId="2146846424"/>
            <ac:spMk id="32" creationId="{84DEB834-EA94-4663-A293-B30365E6BF22}"/>
          </ac:spMkLst>
        </pc:spChg>
        <pc:spChg chg="mod">
          <ac:chgData name="Wipada Chanthaweethip" userId="9b1d58b2-9101-4125-9901-bbcec147f2c6" providerId="ADAL" clId="{6071432F-9294-4EC0-BA55-2246E426275D}" dt="2021-03-16T03:17:42.617" v="1652"/>
          <ac:spMkLst>
            <pc:docMk/>
            <pc:sldMk cId="1738827213" sldId="2146846424"/>
            <ac:spMk id="33" creationId="{9A617639-6124-4A0E-A23A-4E00F3365CC1}"/>
          </ac:spMkLst>
        </pc:spChg>
        <pc:spChg chg="add del mod">
          <ac:chgData name="Wipada Chanthaweethip" userId="9b1d58b2-9101-4125-9901-bbcec147f2c6" providerId="ADAL" clId="{6071432F-9294-4EC0-BA55-2246E426275D}" dt="2021-03-16T03:25:36.517" v="1846" actId="21"/>
          <ac:spMkLst>
            <pc:docMk/>
            <pc:sldMk cId="1738827213" sldId="2146846424"/>
            <ac:spMk id="34" creationId="{F11F5650-03BD-4626-8AC0-D572AF5D28F6}"/>
          </ac:spMkLst>
        </pc:spChg>
        <pc:spChg chg="mod">
          <ac:chgData name="Wipada Chanthaweethip" userId="9b1d58b2-9101-4125-9901-bbcec147f2c6" providerId="ADAL" clId="{6071432F-9294-4EC0-BA55-2246E426275D}" dt="2021-03-16T03:18:39.162" v="1704"/>
          <ac:spMkLst>
            <pc:docMk/>
            <pc:sldMk cId="1738827213" sldId="2146846424"/>
            <ac:spMk id="36" creationId="{72DF2184-7DD0-4D8F-8E0D-422C93BE6A71}"/>
          </ac:spMkLst>
        </pc:spChg>
        <pc:spChg chg="mod">
          <ac:chgData name="Wipada Chanthaweethip" userId="9b1d58b2-9101-4125-9901-bbcec147f2c6" providerId="ADAL" clId="{6071432F-9294-4EC0-BA55-2246E426275D}" dt="2021-03-16T03:18:39.162" v="1704"/>
          <ac:spMkLst>
            <pc:docMk/>
            <pc:sldMk cId="1738827213" sldId="2146846424"/>
            <ac:spMk id="37" creationId="{23F76DBA-44DF-4F5D-BFB5-4EE45AD37CD0}"/>
          </ac:spMkLst>
        </pc:spChg>
        <pc:spChg chg="mod">
          <ac:chgData name="Wipada Chanthaweethip" userId="9b1d58b2-9101-4125-9901-bbcec147f2c6" providerId="ADAL" clId="{6071432F-9294-4EC0-BA55-2246E426275D}" dt="2021-03-16T03:18:43.481" v="1706"/>
          <ac:spMkLst>
            <pc:docMk/>
            <pc:sldMk cId="1738827213" sldId="2146846424"/>
            <ac:spMk id="39" creationId="{326EF08B-81A3-4746-BAA3-B9C298E0236F}"/>
          </ac:spMkLst>
        </pc:spChg>
        <pc:spChg chg="mod">
          <ac:chgData name="Wipada Chanthaweethip" userId="9b1d58b2-9101-4125-9901-bbcec147f2c6" providerId="ADAL" clId="{6071432F-9294-4EC0-BA55-2246E426275D}" dt="2021-03-16T03:18:43.481" v="1706"/>
          <ac:spMkLst>
            <pc:docMk/>
            <pc:sldMk cId="1738827213" sldId="2146846424"/>
            <ac:spMk id="40" creationId="{F0FDE175-0FB8-46EB-A33A-4DCAEFDF5F49}"/>
          </ac:spMkLst>
        </pc:spChg>
        <pc:spChg chg="add mod">
          <ac:chgData name="Wipada Chanthaweethip" userId="9b1d58b2-9101-4125-9901-bbcec147f2c6" providerId="ADAL" clId="{6071432F-9294-4EC0-BA55-2246E426275D}" dt="2021-03-16T03:20:28.802" v="1736" actId="1076"/>
          <ac:spMkLst>
            <pc:docMk/>
            <pc:sldMk cId="1738827213" sldId="2146846424"/>
            <ac:spMk id="42" creationId="{3E7A92CD-F27F-4884-AA18-0D7F667CB789}"/>
          </ac:spMkLst>
        </pc:spChg>
        <pc:spChg chg="add mod">
          <ac:chgData name="Wipada Chanthaweethip" userId="9b1d58b2-9101-4125-9901-bbcec147f2c6" providerId="ADAL" clId="{6071432F-9294-4EC0-BA55-2246E426275D}" dt="2021-03-16T03:20:56.030" v="1757" actId="1076"/>
          <ac:spMkLst>
            <pc:docMk/>
            <pc:sldMk cId="1738827213" sldId="2146846424"/>
            <ac:spMk id="43" creationId="{5D893EAB-5FF3-4457-AD91-92F0C2AA6FCB}"/>
          </ac:spMkLst>
        </pc:spChg>
        <pc:spChg chg="add mod ord">
          <ac:chgData name="Wipada Chanthaweethip" userId="9b1d58b2-9101-4125-9901-bbcec147f2c6" providerId="ADAL" clId="{6071432F-9294-4EC0-BA55-2246E426275D}" dt="2021-03-16T03:21:27.295" v="1762" actId="207"/>
          <ac:spMkLst>
            <pc:docMk/>
            <pc:sldMk cId="1738827213" sldId="2146846424"/>
            <ac:spMk id="47" creationId="{85D15AFC-8F42-44E5-860B-D28B879BE866}"/>
          </ac:spMkLst>
        </pc:spChg>
        <pc:spChg chg="add mod">
          <ac:chgData name="Wipada Chanthaweethip" userId="9b1d58b2-9101-4125-9901-bbcec147f2c6" providerId="ADAL" clId="{6071432F-9294-4EC0-BA55-2246E426275D}" dt="2021-03-16T03:24:22.131" v="1807"/>
          <ac:spMkLst>
            <pc:docMk/>
            <pc:sldMk cId="1738827213" sldId="2146846424"/>
            <ac:spMk id="79" creationId="{4670AB8F-3CA6-4F20-A0EE-328570933631}"/>
          </ac:spMkLst>
        </pc:spChg>
        <pc:spChg chg="add mod">
          <ac:chgData name="Wipada Chanthaweethip" userId="9b1d58b2-9101-4125-9901-bbcec147f2c6" providerId="ADAL" clId="{6071432F-9294-4EC0-BA55-2246E426275D}" dt="2021-03-16T03:24:34.087" v="1816"/>
          <ac:spMkLst>
            <pc:docMk/>
            <pc:sldMk cId="1738827213" sldId="2146846424"/>
            <ac:spMk id="80" creationId="{E3F17C9C-3E81-4376-9EB6-C5CCCD053D35}"/>
          </ac:spMkLst>
        </pc:spChg>
        <pc:spChg chg="add mod">
          <ac:chgData name="Wipada Chanthaweethip" userId="9b1d58b2-9101-4125-9901-bbcec147f2c6" providerId="ADAL" clId="{6071432F-9294-4EC0-BA55-2246E426275D}" dt="2021-03-16T03:24:51.064" v="1833"/>
          <ac:spMkLst>
            <pc:docMk/>
            <pc:sldMk cId="1738827213" sldId="2146846424"/>
            <ac:spMk id="84" creationId="{DD6D702D-6470-4AB2-A874-F5802831F28A}"/>
          </ac:spMkLst>
        </pc:spChg>
        <pc:spChg chg="add mod">
          <ac:chgData name="Wipada Chanthaweethip" userId="9b1d58b2-9101-4125-9901-bbcec147f2c6" providerId="ADAL" clId="{6071432F-9294-4EC0-BA55-2246E426275D}" dt="2021-03-16T03:25:37.338" v="1847"/>
          <ac:spMkLst>
            <pc:docMk/>
            <pc:sldMk cId="1738827213" sldId="2146846424"/>
            <ac:spMk id="91" creationId="{DAA6A19C-FF70-4F38-92EB-26EDF775ADAA}"/>
          </ac:spMkLst>
        </pc:spChg>
        <pc:grpChg chg="add mod">
          <ac:chgData name="Wipada Chanthaweethip" userId="9b1d58b2-9101-4125-9901-bbcec147f2c6" providerId="ADAL" clId="{6071432F-9294-4EC0-BA55-2246E426275D}" dt="2021-03-16T03:18:54.966" v="1708" actId="12788"/>
          <ac:grpSpMkLst>
            <pc:docMk/>
            <pc:sldMk cId="1738827213" sldId="2146846424"/>
            <ac:grpSpMk id="18" creationId="{DDF9FEC8-002C-4F30-A816-BC221F3654F5}"/>
          </ac:grpSpMkLst>
        </pc:grpChg>
        <pc:grpChg chg="add mod">
          <ac:chgData name="Wipada Chanthaweethip" userId="9b1d58b2-9101-4125-9901-bbcec147f2c6" providerId="ADAL" clId="{6071432F-9294-4EC0-BA55-2246E426275D}" dt="2021-03-16T03:24:16.944" v="1805" actId="1036"/>
          <ac:grpSpMkLst>
            <pc:docMk/>
            <pc:sldMk cId="1738827213" sldId="2146846424"/>
            <ac:grpSpMk id="19" creationId="{0EAE4967-2CCF-483F-A173-7A3940ABFB46}"/>
          </ac:grpSpMkLst>
        </pc:grpChg>
        <pc:grpChg chg="add mod">
          <ac:chgData name="Wipada Chanthaweethip" userId="9b1d58b2-9101-4125-9901-bbcec147f2c6" providerId="ADAL" clId="{6071432F-9294-4EC0-BA55-2246E426275D}" dt="2021-03-16T03:25:51.098" v="1850" actId="1036"/>
          <ac:grpSpMkLst>
            <pc:docMk/>
            <pc:sldMk cId="1738827213" sldId="2146846424"/>
            <ac:grpSpMk id="21" creationId="{3B0FC57F-51CF-4EDE-9BE2-4A2C2C27D6A3}"/>
          </ac:grpSpMkLst>
        </pc:grpChg>
        <pc:grpChg chg="add mod">
          <ac:chgData name="Wipada Chanthaweethip" userId="9b1d58b2-9101-4125-9901-bbcec147f2c6" providerId="ADAL" clId="{6071432F-9294-4EC0-BA55-2246E426275D}" dt="2021-03-16T03:25:45.916" v="1849" actId="1036"/>
          <ac:grpSpMkLst>
            <pc:docMk/>
            <pc:sldMk cId="1738827213" sldId="2146846424"/>
            <ac:grpSpMk id="24" creationId="{8F711528-F384-4044-A3F6-3393EAA9D243}"/>
          </ac:grpSpMkLst>
        </pc:grpChg>
        <pc:grpChg chg="add mod">
          <ac:chgData name="Wipada Chanthaweethip" userId="9b1d58b2-9101-4125-9901-bbcec147f2c6" providerId="ADAL" clId="{6071432F-9294-4EC0-BA55-2246E426275D}" dt="2021-03-16T03:19:01.328" v="1709" actId="465"/>
          <ac:grpSpMkLst>
            <pc:docMk/>
            <pc:sldMk cId="1738827213" sldId="2146846424"/>
            <ac:grpSpMk id="28" creationId="{DBB95B5A-F36E-4272-BE6C-1DCBA27B4AC2}"/>
          </ac:grpSpMkLst>
        </pc:grpChg>
        <pc:grpChg chg="add mod">
          <ac:chgData name="Wipada Chanthaweethip" userId="9b1d58b2-9101-4125-9901-bbcec147f2c6" providerId="ADAL" clId="{6071432F-9294-4EC0-BA55-2246E426275D}" dt="2021-03-16T03:25:41.816" v="1848" actId="1036"/>
          <ac:grpSpMkLst>
            <pc:docMk/>
            <pc:sldMk cId="1738827213" sldId="2146846424"/>
            <ac:grpSpMk id="31" creationId="{5E9BB898-BB6F-44B4-B034-5294FE6C9F0A}"/>
          </ac:grpSpMkLst>
        </pc:grpChg>
        <pc:grpChg chg="add mod">
          <ac:chgData name="Wipada Chanthaweethip" userId="9b1d58b2-9101-4125-9901-bbcec147f2c6" providerId="ADAL" clId="{6071432F-9294-4EC0-BA55-2246E426275D}" dt="2021-03-16T03:25:22.466" v="1843" actId="1035"/>
          <ac:grpSpMkLst>
            <pc:docMk/>
            <pc:sldMk cId="1738827213" sldId="2146846424"/>
            <ac:grpSpMk id="35" creationId="{A91A7776-8847-46E5-9F19-4A671B3D6593}"/>
          </ac:grpSpMkLst>
        </pc:grpChg>
        <pc:grpChg chg="add mod">
          <ac:chgData name="Wipada Chanthaweethip" userId="9b1d58b2-9101-4125-9901-bbcec147f2c6" providerId="ADAL" clId="{6071432F-9294-4EC0-BA55-2246E426275D}" dt="2021-03-16T03:18:54.966" v="1708" actId="12788"/>
          <ac:grpSpMkLst>
            <pc:docMk/>
            <pc:sldMk cId="1738827213" sldId="2146846424"/>
            <ac:grpSpMk id="38" creationId="{81C6AA82-6D79-430D-83FF-E04600EA1599}"/>
          </ac:grpSpMkLst>
        </pc:grpChg>
        <pc:picChg chg="add mod">
          <ac:chgData name="Wipada Chanthaweethip" userId="9b1d58b2-9101-4125-9901-bbcec147f2c6" providerId="ADAL" clId="{6071432F-9294-4EC0-BA55-2246E426275D}" dt="2021-03-16T03:20:19.928" v="1729" actId="1076"/>
          <ac:picMkLst>
            <pc:docMk/>
            <pc:sldMk cId="1738827213" sldId="2146846424"/>
            <ac:picMk id="10" creationId="{800E8F11-625E-4026-9784-DCCE11EA8806}"/>
          </ac:picMkLst>
        </pc:picChg>
        <pc:cxnChg chg="add mod">
          <ac:chgData name="Wipada Chanthaweethip" userId="9b1d58b2-9101-4125-9901-bbcec147f2c6" providerId="ADAL" clId="{6071432F-9294-4EC0-BA55-2246E426275D}" dt="2021-03-16T03:19:17.181" v="1713" actId="14100"/>
          <ac:cxnSpMkLst>
            <pc:docMk/>
            <pc:sldMk cId="1738827213" sldId="2146846424"/>
            <ac:cxnSpMk id="9" creationId="{CEA1B712-70AE-46B2-B7EB-168EE6B36491}"/>
          </ac:cxnSpMkLst>
        </pc:cxnChg>
        <pc:cxnChg chg="add mod">
          <ac:chgData name="Wipada Chanthaweethip" userId="9b1d58b2-9101-4125-9901-bbcec147f2c6" providerId="ADAL" clId="{6071432F-9294-4EC0-BA55-2246E426275D}" dt="2021-03-16T03:24:16.944" v="1805" actId="1036"/>
          <ac:cxnSpMkLst>
            <pc:docMk/>
            <pc:sldMk cId="1738827213" sldId="2146846424"/>
            <ac:cxnSpMk id="45" creationId="{61D77301-58A5-4B31-B8F2-865F6C613615}"/>
          </ac:cxnSpMkLst>
        </pc:cxnChg>
        <pc:cxnChg chg="add mod">
          <ac:chgData name="Wipada Chanthaweethip" userId="9b1d58b2-9101-4125-9901-bbcec147f2c6" providerId="ADAL" clId="{6071432F-9294-4EC0-BA55-2246E426275D}" dt="2021-03-16T03:25:45.916" v="1849" actId="1036"/>
          <ac:cxnSpMkLst>
            <pc:docMk/>
            <pc:sldMk cId="1738827213" sldId="2146846424"/>
            <ac:cxnSpMk id="49" creationId="{DA4DF7B0-E1A1-4937-A753-A8B5B46012A3}"/>
          </ac:cxnSpMkLst>
        </pc:cxnChg>
        <pc:cxnChg chg="add mod">
          <ac:chgData name="Wipada Chanthaweethip" userId="9b1d58b2-9101-4125-9901-bbcec147f2c6" providerId="ADAL" clId="{6071432F-9294-4EC0-BA55-2246E426275D}" dt="2021-03-16T03:25:41.816" v="1848" actId="1036"/>
          <ac:cxnSpMkLst>
            <pc:docMk/>
            <pc:sldMk cId="1738827213" sldId="2146846424"/>
            <ac:cxnSpMk id="52" creationId="{5ECA21EB-EE6B-49F4-9645-5BF5FCCF589D}"/>
          </ac:cxnSpMkLst>
        </pc:cxnChg>
        <pc:cxnChg chg="add mod">
          <ac:chgData name="Wipada Chanthaweethip" userId="9b1d58b2-9101-4125-9901-bbcec147f2c6" providerId="ADAL" clId="{6071432F-9294-4EC0-BA55-2246E426275D}" dt="2021-03-16T03:25:32.269" v="1845" actId="14100"/>
          <ac:cxnSpMkLst>
            <pc:docMk/>
            <pc:sldMk cId="1738827213" sldId="2146846424"/>
            <ac:cxnSpMk id="55" creationId="{0A609DCC-8463-4AA1-B8C5-FA79BA575184}"/>
          </ac:cxnSpMkLst>
        </pc:cxnChg>
        <pc:cxnChg chg="add mod">
          <ac:chgData name="Wipada Chanthaweethip" userId="9b1d58b2-9101-4125-9901-bbcec147f2c6" providerId="ADAL" clId="{6071432F-9294-4EC0-BA55-2246E426275D}" dt="2021-03-16T03:22:33.676" v="1780" actId="14100"/>
          <ac:cxnSpMkLst>
            <pc:docMk/>
            <pc:sldMk cId="1738827213" sldId="2146846424"/>
            <ac:cxnSpMk id="60" creationId="{C9F9343B-52DB-4706-99C3-F876C2DB2F45}"/>
          </ac:cxnSpMkLst>
        </pc:cxnChg>
        <pc:cxnChg chg="add mod">
          <ac:chgData name="Wipada Chanthaweethip" userId="9b1d58b2-9101-4125-9901-bbcec147f2c6" providerId="ADAL" clId="{6071432F-9294-4EC0-BA55-2246E426275D}" dt="2021-03-16T03:25:51.098" v="1850" actId="1036"/>
          <ac:cxnSpMkLst>
            <pc:docMk/>
            <pc:sldMk cId="1738827213" sldId="2146846424"/>
            <ac:cxnSpMk id="63" creationId="{F17DCC48-4A69-4F87-B2A8-5ACF43E72BA3}"/>
          </ac:cxnSpMkLst>
        </pc:cxnChg>
        <pc:cxnChg chg="add mod">
          <ac:chgData name="Wipada Chanthaweethip" userId="9b1d58b2-9101-4125-9901-bbcec147f2c6" providerId="ADAL" clId="{6071432F-9294-4EC0-BA55-2246E426275D}" dt="2021-03-16T03:23:16.187" v="1791" actId="14100"/>
          <ac:cxnSpMkLst>
            <pc:docMk/>
            <pc:sldMk cId="1738827213" sldId="2146846424"/>
            <ac:cxnSpMk id="68" creationId="{DE6AFA72-5D1D-46BD-ACC7-B1EC58B91459}"/>
          </ac:cxnSpMkLst>
        </pc:cxnChg>
        <pc:cxnChg chg="add mod">
          <ac:chgData name="Wipada Chanthaweethip" userId="9b1d58b2-9101-4125-9901-bbcec147f2c6" providerId="ADAL" clId="{6071432F-9294-4EC0-BA55-2246E426275D}" dt="2021-03-16T03:23:24.691" v="1794" actId="1076"/>
          <ac:cxnSpMkLst>
            <pc:docMk/>
            <pc:sldMk cId="1738827213" sldId="2146846424"/>
            <ac:cxnSpMk id="71" creationId="{FED8305D-75E8-4312-8943-79D8190A767E}"/>
          </ac:cxnSpMkLst>
        </pc:cxnChg>
        <pc:cxnChg chg="add mod">
          <ac:chgData name="Wipada Chanthaweethip" userId="9b1d58b2-9101-4125-9901-bbcec147f2c6" providerId="ADAL" clId="{6071432F-9294-4EC0-BA55-2246E426275D}" dt="2021-03-16T03:24:16.944" v="1805" actId="1036"/>
          <ac:cxnSpMkLst>
            <pc:docMk/>
            <pc:sldMk cId="1738827213" sldId="2146846424"/>
            <ac:cxnSpMk id="73" creationId="{5E4D716D-AC09-4D30-A542-DA7AC016BAE2}"/>
          </ac:cxnSpMkLst>
        </pc:cxnChg>
        <pc:cxnChg chg="add mod">
          <ac:chgData name="Wipada Chanthaweethip" userId="9b1d58b2-9101-4125-9901-bbcec147f2c6" providerId="ADAL" clId="{6071432F-9294-4EC0-BA55-2246E426275D}" dt="2021-03-16T03:25:51.098" v="1850" actId="1036"/>
          <ac:cxnSpMkLst>
            <pc:docMk/>
            <pc:sldMk cId="1738827213" sldId="2146846424"/>
            <ac:cxnSpMk id="75" creationId="{AA7FC389-3492-4200-BAE7-B339EFED3E8D}"/>
          </ac:cxnSpMkLst>
        </pc:cxnChg>
        <pc:cxnChg chg="add mod">
          <ac:chgData name="Wipada Chanthaweethip" userId="9b1d58b2-9101-4125-9901-bbcec147f2c6" providerId="ADAL" clId="{6071432F-9294-4EC0-BA55-2246E426275D}" dt="2021-03-16T03:25:41.816" v="1848" actId="1036"/>
          <ac:cxnSpMkLst>
            <pc:docMk/>
            <pc:sldMk cId="1738827213" sldId="2146846424"/>
            <ac:cxnSpMk id="81" creationId="{911395F3-7442-468B-A5FB-CD4765707B03}"/>
          </ac:cxnSpMkLst>
        </pc:cxnChg>
        <pc:cxnChg chg="add mod">
          <ac:chgData name="Wipada Chanthaweethip" userId="9b1d58b2-9101-4125-9901-bbcec147f2c6" providerId="ADAL" clId="{6071432F-9294-4EC0-BA55-2246E426275D}" dt="2021-03-16T03:25:22.466" v="1843" actId="1035"/>
          <ac:cxnSpMkLst>
            <pc:docMk/>
            <pc:sldMk cId="1738827213" sldId="2146846424"/>
            <ac:cxnSpMk id="85" creationId="{C987A8E2-73EB-4846-8781-401332F19AB4}"/>
          </ac:cxnSpMkLst>
        </pc:cxnChg>
      </pc:sldChg>
      <pc:sldChg chg="addSp delSp modSp add mod">
        <pc:chgData name="Wipada Chanthaweethip" userId="9b1d58b2-9101-4125-9901-bbcec147f2c6" providerId="ADAL" clId="{6071432F-9294-4EC0-BA55-2246E426275D}" dt="2021-03-16T06:36:04.874" v="2693" actId="208"/>
        <pc:sldMkLst>
          <pc:docMk/>
          <pc:sldMk cId="944481489" sldId="2146846425"/>
        </pc:sldMkLst>
        <pc:spChg chg="add mod">
          <ac:chgData name="Wipada Chanthaweethip" userId="9b1d58b2-9101-4125-9901-bbcec147f2c6" providerId="ADAL" clId="{6071432F-9294-4EC0-BA55-2246E426275D}" dt="2021-03-16T06:35:14.943" v="2685" actId="207"/>
          <ac:spMkLst>
            <pc:docMk/>
            <pc:sldMk cId="944481489" sldId="2146846425"/>
            <ac:spMk id="18" creationId="{CD399C94-9FE8-4FF4-A998-8F0E0415F3C0}"/>
          </ac:spMkLst>
        </pc:spChg>
        <pc:spChg chg="mod topLvl">
          <ac:chgData name="Wipada Chanthaweethip" userId="9b1d58b2-9101-4125-9901-bbcec147f2c6" providerId="ADAL" clId="{6071432F-9294-4EC0-BA55-2246E426275D}" dt="2021-03-16T06:36:04.874" v="2693" actId="208"/>
          <ac:spMkLst>
            <pc:docMk/>
            <pc:sldMk cId="944481489" sldId="2146846425"/>
            <ac:spMk id="64" creationId="{6794D0CF-5522-459F-AC4A-0B60AA23EE36}"/>
          </ac:spMkLst>
        </pc:spChg>
        <pc:spChg chg="mod topLvl">
          <ac:chgData name="Wipada Chanthaweethip" userId="9b1d58b2-9101-4125-9901-bbcec147f2c6" providerId="ADAL" clId="{6071432F-9294-4EC0-BA55-2246E426275D}" dt="2021-03-16T06:35:52.017" v="2692" actId="208"/>
          <ac:spMkLst>
            <pc:docMk/>
            <pc:sldMk cId="944481489" sldId="2146846425"/>
            <ac:spMk id="65" creationId="{24D9936A-3386-4724-9C62-567966783BA1}"/>
          </ac:spMkLst>
        </pc:spChg>
        <pc:spChg chg="mod topLvl">
          <ac:chgData name="Wipada Chanthaweethip" userId="9b1d58b2-9101-4125-9901-bbcec147f2c6" providerId="ADAL" clId="{6071432F-9294-4EC0-BA55-2246E426275D}" dt="2021-03-16T06:35:52.017" v="2692" actId="208"/>
          <ac:spMkLst>
            <pc:docMk/>
            <pc:sldMk cId="944481489" sldId="2146846425"/>
            <ac:spMk id="66" creationId="{8C3A2F6A-A6FC-4CAE-9EDF-CA676ECC3503}"/>
          </ac:spMkLst>
        </pc:spChg>
        <pc:spChg chg="mod topLvl">
          <ac:chgData name="Wipada Chanthaweethip" userId="9b1d58b2-9101-4125-9901-bbcec147f2c6" providerId="ADAL" clId="{6071432F-9294-4EC0-BA55-2246E426275D}" dt="2021-03-16T06:35:52.017" v="2692" actId="208"/>
          <ac:spMkLst>
            <pc:docMk/>
            <pc:sldMk cId="944481489" sldId="2146846425"/>
            <ac:spMk id="67" creationId="{A1D56872-5BBA-4405-8E92-9F293D2EB365}"/>
          </ac:spMkLst>
        </pc:spChg>
        <pc:spChg chg="mod topLvl">
          <ac:chgData name="Wipada Chanthaweethip" userId="9b1d58b2-9101-4125-9901-bbcec147f2c6" providerId="ADAL" clId="{6071432F-9294-4EC0-BA55-2246E426275D}" dt="2021-03-16T06:34:57.230" v="2683" actId="165"/>
          <ac:spMkLst>
            <pc:docMk/>
            <pc:sldMk cId="944481489" sldId="2146846425"/>
            <ac:spMk id="71" creationId="{7B1406CB-ADC8-4945-AB12-073A04AE04D7}"/>
          </ac:spMkLst>
        </pc:spChg>
        <pc:spChg chg="mod topLvl">
          <ac:chgData name="Wipada Chanthaweethip" userId="9b1d58b2-9101-4125-9901-bbcec147f2c6" providerId="ADAL" clId="{6071432F-9294-4EC0-BA55-2246E426275D}" dt="2021-03-16T06:34:57.230" v="2683" actId="165"/>
          <ac:spMkLst>
            <pc:docMk/>
            <pc:sldMk cId="944481489" sldId="2146846425"/>
            <ac:spMk id="72" creationId="{ED4A60BD-6138-441C-A108-8BA193997FF0}"/>
          </ac:spMkLst>
        </pc:spChg>
        <pc:spChg chg="mod topLvl">
          <ac:chgData name="Wipada Chanthaweethip" userId="9b1d58b2-9101-4125-9901-bbcec147f2c6" providerId="ADAL" clId="{6071432F-9294-4EC0-BA55-2246E426275D}" dt="2021-03-16T06:34:57.230" v="2683" actId="165"/>
          <ac:spMkLst>
            <pc:docMk/>
            <pc:sldMk cId="944481489" sldId="2146846425"/>
            <ac:spMk id="73" creationId="{553A003C-02AE-414C-9614-B205FC86E48C}"/>
          </ac:spMkLst>
        </pc:spChg>
        <pc:spChg chg="mod topLvl">
          <ac:chgData name="Wipada Chanthaweethip" userId="9b1d58b2-9101-4125-9901-bbcec147f2c6" providerId="ADAL" clId="{6071432F-9294-4EC0-BA55-2246E426275D}" dt="2021-03-16T06:34:57.230" v="2683" actId="165"/>
          <ac:spMkLst>
            <pc:docMk/>
            <pc:sldMk cId="944481489" sldId="2146846425"/>
            <ac:spMk id="74" creationId="{46A9591C-A7B0-47AA-A9DF-09D1166054C2}"/>
          </ac:spMkLst>
        </pc:spChg>
        <pc:grpChg chg="add del mod">
          <ac:chgData name="Wipada Chanthaweethip" userId="9b1d58b2-9101-4125-9901-bbcec147f2c6" providerId="ADAL" clId="{6071432F-9294-4EC0-BA55-2246E426275D}" dt="2021-03-16T06:34:57.230" v="2683" actId="165"/>
          <ac:grpSpMkLst>
            <pc:docMk/>
            <pc:sldMk cId="944481489" sldId="2146846425"/>
            <ac:grpSpMk id="63" creationId="{3DDA2563-39C3-4358-8124-B58C7FCAA0E8}"/>
          </ac:grpSpMkLst>
        </pc:grpChg>
        <pc:picChg chg="del">
          <ac:chgData name="Wipada Chanthaweethip" userId="9b1d58b2-9101-4125-9901-bbcec147f2c6" providerId="ADAL" clId="{6071432F-9294-4EC0-BA55-2246E426275D}" dt="2021-03-16T03:27:50.070" v="1854" actId="478"/>
          <ac:picMkLst>
            <pc:docMk/>
            <pc:sldMk cId="944481489" sldId="2146846425"/>
            <ac:picMk id="3074" creationId="{C7901959-AD3D-44D0-BDAC-8E491F573AD3}"/>
          </ac:picMkLst>
        </pc:picChg>
        <pc:cxnChg chg="add mod">
          <ac:chgData name="Wipada Chanthaweethip" userId="9b1d58b2-9101-4125-9901-bbcec147f2c6" providerId="ADAL" clId="{6071432F-9294-4EC0-BA55-2246E426275D}" dt="2021-03-16T03:30:31.825" v="1884" actId="14100"/>
          <ac:cxnSpMkLst>
            <pc:docMk/>
            <pc:sldMk cId="944481489" sldId="2146846425"/>
            <ac:cxnSpMk id="15" creationId="{B2F182AA-A268-4C15-906A-BA01352A4EB7}"/>
          </ac:cxnSpMkLst>
        </pc:cxnChg>
        <pc:cxnChg chg="add mod">
          <ac:chgData name="Wipada Chanthaweethip" userId="9b1d58b2-9101-4125-9901-bbcec147f2c6" providerId="ADAL" clId="{6071432F-9294-4EC0-BA55-2246E426275D}" dt="2021-03-16T03:30:28.494" v="1883" actId="14100"/>
          <ac:cxnSpMkLst>
            <pc:docMk/>
            <pc:sldMk cId="944481489" sldId="2146846425"/>
            <ac:cxnSpMk id="58" creationId="{1E5AFF0C-50F6-4DD4-BCDA-D28300B71808}"/>
          </ac:cxnSpMkLst>
        </pc:cxnChg>
        <pc:cxnChg chg="add del mod">
          <ac:chgData name="Wipada Chanthaweethip" userId="9b1d58b2-9101-4125-9901-bbcec147f2c6" providerId="ADAL" clId="{6071432F-9294-4EC0-BA55-2246E426275D}" dt="2021-03-16T03:29:21.424" v="1871"/>
          <ac:cxnSpMkLst>
            <pc:docMk/>
            <pc:sldMk cId="944481489" sldId="2146846425"/>
            <ac:cxnSpMk id="62" creationId="{266D9730-C70E-49F5-9B60-E2BE7F14403A}"/>
          </ac:cxnSpMkLst>
        </pc:cxnChg>
        <pc:cxnChg chg="mod topLvl">
          <ac:chgData name="Wipada Chanthaweethip" userId="9b1d58b2-9101-4125-9901-bbcec147f2c6" providerId="ADAL" clId="{6071432F-9294-4EC0-BA55-2246E426275D}" dt="2021-03-16T06:35:52.017" v="2692" actId="208"/>
          <ac:cxnSpMkLst>
            <pc:docMk/>
            <pc:sldMk cId="944481489" sldId="2146846425"/>
            <ac:cxnSpMk id="68" creationId="{12F171D3-5A73-4CDD-A65B-86C99C2A9625}"/>
          </ac:cxnSpMkLst>
        </pc:cxnChg>
        <pc:cxnChg chg="mod topLvl">
          <ac:chgData name="Wipada Chanthaweethip" userId="9b1d58b2-9101-4125-9901-bbcec147f2c6" providerId="ADAL" clId="{6071432F-9294-4EC0-BA55-2246E426275D}" dt="2021-03-16T06:35:52.017" v="2692" actId="208"/>
          <ac:cxnSpMkLst>
            <pc:docMk/>
            <pc:sldMk cId="944481489" sldId="2146846425"/>
            <ac:cxnSpMk id="69" creationId="{43665FE7-2F66-4FEB-905F-1DF6F06B371E}"/>
          </ac:cxnSpMkLst>
        </pc:cxnChg>
        <pc:cxnChg chg="mod topLvl">
          <ac:chgData name="Wipada Chanthaweethip" userId="9b1d58b2-9101-4125-9901-bbcec147f2c6" providerId="ADAL" clId="{6071432F-9294-4EC0-BA55-2246E426275D}" dt="2021-03-16T06:35:52.017" v="2692" actId="208"/>
          <ac:cxnSpMkLst>
            <pc:docMk/>
            <pc:sldMk cId="944481489" sldId="2146846425"/>
            <ac:cxnSpMk id="70" creationId="{23ABC142-4BB3-4609-AE13-282303CF3531}"/>
          </ac:cxnSpMkLst>
        </pc:cxnChg>
      </pc:sldChg>
      <pc:sldChg chg="addSp delSp modSp add mod">
        <pc:chgData name="Wipada Chanthaweethip" userId="9b1d58b2-9101-4125-9901-bbcec147f2c6" providerId="ADAL" clId="{6071432F-9294-4EC0-BA55-2246E426275D}" dt="2021-03-16T06:36:41.941" v="2697" actId="208"/>
        <pc:sldMkLst>
          <pc:docMk/>
          <pc:sldMk cId="2567221917" sldId="2146846426"/>
        </pc:sldMkLst>
        <pc:spChg chg="add mod">
          <ac:chgData name="Wipada Chanthaweethip" userId="9b1d58b2-9101-4125-9901-bbcec147f2c6" providerId="ADAL" clId="{6071432F-9294-4EC0-BA55-2246E426275D}" dt="2021-03-16T03:47:01.083" v="2249" actId="1076"/>
          <ac:spMkLst>
            <pc:docMk/>
            <pc:sldMk cId="2567221917" sldId="2146846426"/>
            <ac:spMk id="62" creationId="{A03A3CF8-FDFB-4E07-9F00-E5567CBB1CF9}"/>
          </ac:spMkLst>
        </pc:spChg>
        <pc:spChg chg="del mod">
          <ac:chgData name="Wipada Chanthaweethip" userId="9b1d58b2-9101-4125-9901-bbcec147f2c6" providerId="ADAL" clId="{6071432F-9294-4EC0-BA55-2246E426275D}" dt="2021-03-16T03:46:37.406" v="2245" actId="478"/>
          <ac:spMkLst>
            <pc:docMk/>
            <pc:sldMk cId="2567221917" sldId="2146846426"/>
            <ac:spMk id="64" creationId="{DA8262EF-0031-4940-8C98-A0FF0FBD6E39}"/>
          </ac:spMkLst>
        </pc:spChg>
        <pc:spChg chg="mod topLvl">
          <ac:chgData name="Wipada Chanthaweethip" userId="9b1d58b2-9101-4125-9901-bbcec147f2c6" providerId="ADAL" clId="{6071432F-9294-4EC0-BA55-2246E426275D}" dt="2021-03-16T06:36:41.941" v="2697" actId="208"/>
          <ac:spMkLst>
            <pc:docMk/>
            <pc:sldMk cId="2567221917" sldId="2146846426"/>
            <ac:spMk id="65" creationId="{08C1386C-E72F-40B2-9011-259BD6239629}"/>
          </ac:spMkLst>
        </pc:spChg>
        <pc:spChg chg="mod topLvl">
          <ac:chgData name="Wipada Chanthaweethip" userId="9b1d58b2-9101-4125-9901-bbcec147f2c6" providerId="ADAL" clId="{6071432F-9294-4EC0-BA55-2246E426275D}" dt="2021-03-16T06:36:41.941" v="2697" actId="208"/>
          <ac:spMkLst>
            <pc:docMk/>
            <pc:sldMk cId="2567221917" sldId="2146846426"/>
            <ac:spMk id="66" creationId="{4A4EAD8B-EAB3-447E-BB85-FB9FF39F87AC}"/>
          </ac:spMkLst>
        </pc:spChg>
        <pc:spChg chg="mod topLvl">
          <ac:chgData name="Wipada Chanthaweethip" userId="9b1d58b2-9101-4125-9901-bbcec147f2c6" providerId="ADAL" clId="{6071432F-9294-4EC0-BA55-2246E426275D}" dt="2021-03-16T06:36:41.941" v="2697" actId="208"/>
          <ac:spMkLst>
            <pc:docMk/>
            <pc:sldMk cId="2567221917" sldId="2146846426"/>
            <ac:spMk id="67" creationId="{C7EB782F-1702-47C7-BD12-4A2A98933CE0}"/>
          </ac:spMkLst>
        </pc:spChg>
        <pc:spChg chg="del mod">
          <ac:chgData name="Wipada Chanthaweethip" userId="9b1d58b2-9101-4125-9901-bbcec147f2c6" providerId="ADAL" clId="{6071432F-9294-4EC0-BA55-2246E426275D}" dt="2021-03-16T03:46:38.985" v="2246" actId="478"/>
          <ac:spMkLst>
            <pc:docMk/>
            <pc:sldMk cId="2567221917" sldId="2146846426"/>
            <ac:spMk id="71" creationId="{02417079-8A54-4531-BF94-F3D3BA5B30D3}"/>
          </ac:spMkLst>
        </pc:spChg>
        <pc:spChg chg="mod topLvl">
          <ac:chgData name="Wipada Chanthaweethip" userId="9b1d58b2-9101-4125-9901-bbcec147f2c6" providerId="ADAL" clId="{6071432F-9294-4EC0-BA55-2246E426275D}" dt="2021-03-16T06:36:35.076" v="2696" actId="165"/>
          <ac:spMkLst>
            <pc:docMk/>
            <pc:sldMk cId="2567221917" sldId="2146846426"/>
            <ac:spMk id="72" creationId="{2CC3B47F-FF4F-4694-B219-C2365D53FD8C}"/>
          </ac:spMkLst>
        </pc:spChg>
        <pc:spChg chg="mod topLvl">
          <ac:chgData name="Wipada Chanthaweethip" userId="9b1d58b2-9101-4125-9901-bbcec147f2c6" providerId="ADAL" clId="{6071432F-9294-4EC0-BA55-2246E426275D}" dt="2021-03-16T06:36:35.076" v="2696" actId="165"/>
          <ac:spMkLst>
            <pc:docMk/>
            <pc:sldMk cId="2567221917" sldId="2146846426"/>
            <ac:spMk id="73" creationId="{CDE2C928-AE34-4557-B74F-C74913D29BB2}"/>
          </ac:spMkLst>
        </pc:spChg>
        <pc:spChg chg="mod topLvl">
          <ac:chgData name="Wipada Chanthaweethip" userId="9b1d58b2-9101-4125-9901-bbcec147f2c6" providerId="ADAL" clId="{6071432F-9294-4EC0-BA55-2246E426275D}" dt="2021-03-16T06:36:35.076" v="2696" actId="165"/>
          <ac:spMkLst>
            <pc:docMk/>
            <pc:sldMk cId="2567221917" sldId="2146846426"/>
            <ac:spMk id="74" creationId="{DCAD57CF-FF06-41C1-B64E-3E2967EF16CC}"/>
          </ac:spMkLst>
        </pc:spChg>
        <pc:grpChg chg="add del mod">
          <ac:chgData name="Wipada Chanthaweethip" userId="9b1d58b2-9101-4125-9901-bbcec147f2c6" providerId="ADAL" clId="{6071432F-9294-4EC0-BA55-2246E426275D}" dt="2021-03-16T06:36:35.076" v="2696" actId="165"/>
          <ac:grpSpMkLst>
            <pc:docMk/>
            <pc:sldMk cId="2567221917" sldId="2146846426"/>
            <ac:grpSpMk id="63" creationId="{15C45321-F5CC-41A6-BF21-5FE75EC2C99C}"/>
          </ac:grpSpMkLst>
        </pc:grpChg>
        <pc:cxnChg chg="add del mod">
          <ac:chgData name="Wipada Chanthaweethip" userId="9b1d58b2-9101-4125-9901-bbcec147f2c6" providerId="ADAL" clId="{6071432F-9294-4EC0-BA55-2246E426275D}" dt="2021-03-16T03:45:41.241" v="2233" actId="21"/>
          <ac:cxnSpMkLst>
            <pc:docMk/>
            <pc:sldMk cId="2567221917" sldId="2146846426"/>
            <ac:cxnSpMk id="14" creationId="{90F7BEA7-9234-482B-A35A-6B8F15ED02F7}"/>
          </ac:cxnSpMkLst>
        </pc:cxnChg>
        <pc:cxnChg chg="add mod">
          <ac:chgData name="Wipada Chanthaweethip" userId="9b1d58b2-9101-4125-9901-bbcec147f2c6" providerId="ADAL" clId="{6071432F-9294-4EC0-BA55-2246E426275D}" dt="2021-03-16T03:47:07.634" v="2251" actId="14100"/>
          <ac:cxnSpMkLst>
            <pc:docMk/>
            <pc:sldMk cId="2567221917" sldId="2146846426"/>
            <ac:cxnSpMk id="59" creationId="{1D783279-38B2-4C48-84BD-E8D4112A7329}"/>
          </ac:cxnSpMkLst>
        </pc:cxnChg>
        <pc:cxnChg chg="add mod">
          <ac:chgData name="Wipada Chanthaweethip" userId="9b1d58b2-9101-4125-9901-bbcec147f2c6" providerId="ADAL" clId="{6071432F-9294-4EC0-BA55-2246E426275D}" dt="2021-03-16T03:47:04.563" v="2250" actId="14100"/>
          <ac:cxnSpMkLst>
            <pc:docMk/>
            <pc:sldMk cId="2567221917" sldId="2146846426"/>
            <ac:cxnSpMk id="60" creationId="{6A35DE45-F0EE-4FEB-838D-05529AE271B6}"/>
          </ac:cxnSpMkLst>
        </pc:cxnChg>
        <pc:cxnChg chg="del mod">
          <ac:chgData name="Wipada Chanthaweethip" userId="9b1d58b2-9101-4125-9901-bbcec147f2c6" providerId="ADAL" clId="{6071432F-9294-4EC0-BA55-2246E426275D}" dt="2021-03-16T03:46:34.068" v="2243" actId="478"/>
          <ac:cxnSpMkLst>
            <pc:docMk/>
            <pc:sldMk cId="2567221917" sldId="2146846426"/>
            <ac:cxnSpMk id="68" creationId="{DC05D31B-6DAB-4F8F-91D1-68D08510F2A1}"/>
          </ac:cxnSpMkLst>
        </pc:cxnChg>
        <pc:cxnChg chg="del mod">
          <ac:chgData name="Wipada Chanthaweethip" userId="9b1d58b2-9101-4125-9901-bbcec147f2c6" providerId="ADAL" clId="{6071432F-9294-4EC0-BA55-2246E426275D}" dt="2021-03-16T03:46:32.377" v="2242" actId="478"/>
          <ac:cxnSpMkLst>
            <pc:docMk/>
            <pc:sldMk cId="2567221917" sldId="2146846426"/>
            <ac:cxnSpMk id="69" creationId="{0A41FDD0-A016-4AD6-9C11-0B15E60614AB}"/>
          </ac:cxnSpMkLst>
        </pc:cxnChg>
        <pc:cxnChg chg="del mod">
          <ac:chgData name="Wipada Chanthaweethip" userId="9b1d58b2-9101-4125-9901-bbcec147f2c6" providerId="ADAL" clId="{6071432F-9294-4EC0-BA55-2246E426275D}" dt="2021-03-16T03:46:35.732" v="2244" actId="478"/>
          <ac:cxnSpMkLst>
            <pc:docMk/>
            <pc:sldMk cId="2567221917" sldId="2146846426"/>
            <ac:cxnSpMk id="70" creationId="{B309E306-089E-4F20-8435-7B243E206001}"/>
          </ac:cxnSpMkLst>
        </pc:cxnChg>
      </pc:sldChg>
      <pc:sldChg chg="modSp mod">
        <pc:chgData name="Wipada Chanthaweethip" userId="9b1d58b2-9101-4125-9901-bbcec147f2c6" providerId="ADAL" clId="{6071432F-9294-4EC0-BA55-2246E426275D}" dt="2021-03-16T04:00:53.127" v="2579" actId="20577"/>
        <pc:sldMkLst>
          <pc:docMk/>
          <pc:sldMk cId="1283394877" sldId="2146846427"/>
        </pc:sldMkLst>
        <pc:spChg chg="mod">
          <ac:chgData name="Wipada Chanthaweethip" userId="9b1d58b2-9101-4125-9901-bbcec147f2c6" providerId="ADAL" clId="{6071432F-9294-4EC0-BA55-2246E426275D}" dt="2021-03-16T04:00:06.495" v="2529" actId="20577"/>
          <ac:spMkLst>
            <pc:docMk/>
            <pc:sldMk cId="1283394877" sldId="2146846427"/>
            <ac:spMk id="2" creationId="{538664CE-82CD-41E0-917A-7205BD5652BA}"/>
          </ac:spMkLst>
        </pc:spChg>
        <pc:spChg chg="mod">
          <ac:chgData name="Wipada Chanthaweethip" userId="9b1d58b2-9101-4125-9901-bbcec147f2c6" providerId="ADAL" clId="{6071432F-9294-4EC0-BA55-2246E426275D}" dt="2021-03-16T04:00:53.127" v="2579" actId="20577"/>
          <ac:spMkLst>
            <pc:docMk/>
            <pc:sldMk cId="1283394877" sldId="2146846427"/>
            <ac:spMk id="3" creationId="{62305E6A-D14A-4A8A-B672-75BD5F4C36FD}"/>
          </ac:spMkLst>
        </pc:spChg>
      </pc:sldChg>
      <pc:sldChg chg="add del">
        <pc:chgData name="Wipada Chanthaweethip" userId="9b1d58b2-9101-4125-9901-bbcec147f2c6" providerId="ADAL" clId="{6071432F-9294-4EC0-BA55-2246E426275D}" dt="2021-03-16T04:00:01.228" v="2528"/>
        <pc:sldMkLst>
          <pc:docMk/>
          <pc:sldMk cId="2700693375" sldId="2146846427"/>
        </pc:sldMkLst>
      </pc:sldChg>
      <pc:sldChg chg="addSp delSp modSp mod">
        <pc:chgData name="Wipada Chanthaweethip" userId="9b1d58b2-9101-4125-9901-bbcec147f2c6" providerId="ADAL" clId="{6071432F-9294-4EC0-BA55-2246E426275D}" dt="2021-03-16T06:37:53.373" v="2709" actId="208"/>
        <pc:sldMkLst>
          <pc:docMk/>
          <pc:sldMk cId="59736145" sldId="2146846428"/>
        </pc:sldMkLst>
        <pc:spChg chg="mod">
          <ac:chgData name="Wipada Chanthaweethip" userId="9b1d58b2-9101-4125-9901-bbcec147f2c6" providerId="ADAL" clId="{6071432F-9294-4EC0-BA55-2246E426275D}" dt="2021-03-16T06:37:53.373" v="2709" actId="208"/>
          <ac:spMkLst>
            <pc:docMk/>
            <pc:sldMk cId="59736145" sldId="2146846428"/>
            <ac:spMk id="64" creationId="{6794D0CF-5522-459F-AC4A-0B60AA23EE36}"/>
          </ac:spMkLst>
        </pc:spChg>
        <pc:spChg chg="mod">
          <ac:chgData name="Wipada Chanthaweethip" userId="9b1d58b2-9101-4125-9901-bbcec147f2c6" providerId="ADAL" clId="{6071432F-9294-4EC0-BA55-2246E426275D}" dt="2021-03-16T06:37:30.012" v="2703" actId="208"/>
          <ac:spMkLst>
            <pc:docMk/>
            <pc:sldMk cId="59736145" sldId="2146846428"/>
            <ac:spMk id="65" creationId="{24D9936A-3386-4724-9C62-567966783BA1}"/>
          </ac:spMkLst>
        </pc:spChg>
        <pc:spChg chg="mod">
          <ac:chgData name="Wipada Chanthaweethip" userId="9b1d58b2-9101-4125-9901-bbcec147f2c6" providerId="ADAL" clId="{6071432F-9294-4EC0-BA55-2246E426275D}" dt="2021-03-16T06:37:35.411" v="2704" actId="208"/>
          <ac:spMkLst>
            <pc:docMk/>
            <pc:sldMk cId="59736145" sldId="2146846428"/>
            <ac:spMk id="66" creationId="{8C3A2F6A-A6FC-4CAE-9EDF-CA676ECC3503}"/>
          </ac:spMkLst>
        </pc:spChg>
        <pc:spChg chg="mod">
          <ac:chgData name="Wipada Chanthaweethip" userId="9b1d58b2-9101-4125-9901-bbcec147f2c6" providerId="ADAL" clId="{6071432F-9294-4EC0-BA55-2246E426275D}" dt="2021-03-16T06:37:38.290" v="2705" actId="208"/>
          <ac:spMkLst>
            <pc:docMk/>
            <pc:sldMk cId="59736145" sldId="2146846428"/>
            <ac:spMk id="67" creationId="{A1D56872-5BBA-4405-8E92-9F293D2EB365}"/>
          </ac:spMkLst>
        </pc:spChg>
        <pc:spChg chg="add mod">
          <ac:chgData name="Wipada Chanthaweethip" userId="9b1d58b2-9101-4125-9901-bbcec147f2c6" providerId="ADAL" clId="{6071432F-9294-4EC0-BA55-2246E426275D}" dt="2021-03-16T04:01:29.611" v="2584"/>
          <ac:spMkLst>
            <pc:docMk/>
            <pc:sldMk cId="59736145" sldId="2146846428"/>
            <ac:spMk id="75" creationId="{B3BCD948-B5F5-424C-8998-2092F6F3337D}"/>
          </ac:spMkLst>
        </pc:spChg>
        <pc:spChg chg="add mod">
          <ac:chgData name="Wipada Chanthaweethip" userId="9b1d58b2-9101-4125-9901-bbcec147f2c6" providerId="ADAL" clId="{6071432F-9294-4EC0-BA55-2246E426275D}" dt="2021-03-16T04:01:29.611" v="2584"/>
          <ac:spMkLst>
            <pc:docMk/>
            <pc:sldMk cId="59736145" sldId="2146846428"/>
            <ac:spMk id="76" creationId="{2251F200-8129-4A94-8AD7-0D576C9E6C4D}"/>
          </ac:spMkLst>
        </pc:spChg>
        <pc:spChg chg="add mod">
          <ac:chgData name="Wipada Chanthaweethip" userId="9b1d58b2-9101-4125-9901-bbcec147f2c6" providerId="ADAL" clId="{6071432F-9294-4EC0-BA55-2246E426275D}" dt="2021-03-16T04:01:29.611" v="2584"/>
          <ac:spMkLst>
            <pc:docMk/>
            <pc:sldMk cId="59736145" sldId="2146846428"/>
            <ac:spMk id="77" creationId="{B83F985B-3DAD-432D-BBDB-B98ED20B2C94}"/>
          </ac:spMkLst>
        </pc:spChg>
        <pc:spChg chg="add mod">
          <ac:chgData name="Wipada Chanthaweethip" userId="9b1d58b2-9101-4125-9901-bbcec147f2c6" providerId="ADAL" clId="{6071432F-9294-4EC0-BA55-2246E426275D}" dt="2021-03-16T04:01:29.611" v="2584"/>
          <ac:spMkLst>
            <pc:docMk/>
            <pc:sldMk cId="59736145" sldId="2146846428"/>
            <ac:spMk id="78" creationId="{F022EEB4-0E16-4224-8A7C-1EFA844555D5}"/>
          </ac:spMkLst>
        </pc:spChg>
        <pc:spChg chg="add mod">
          <ac:chgData name="Wipada Chanthaweethip" userId="9b1d58b2-9101-4125-9901-bbcec147f2c6" providerId="ADAL" clId="{6071432F-9294-4EC0-BA55-2246E426275D}" dt="2021-03-16T04:01:29.611" v="2584"/>
          <ac:spMkLst>
            <pc:docMk/>
            <pc:sldMk cId="59736145" sldId="2146846428"/>
            <ac:spMk id="79" creationId="{95D579A5-0DFC-4426-B9DD-4075D187CA1E}"/>
          </ac:spMkLst>
        </pc:spChg>
        <pc:spChg chg="add mod">
          <ac:chgData name="Wipada Chanthaweethip" userId="9b1d58b2-9101-4125-9901-bbcec147f2c6" providerId="ADAL" clId="{6071432F-9294-4EC0-BA55-2246E426275D}" dt="2021-03-16T04:01:29.611" v="2584"/>
          <ac:spMkLst>
            <pc:docMk/>
            <pc:sldMk cId="59736145" sldId="2146846428"/>
            <ac:spMk id="81" creationId="{F17B5094-AE34-45B1-B5EA-5451D0E93A4A}"/>
          </ac:spMkLst>
        </pc:spChg>
        <pc:spChg chg="add mod">
          <ac:chgData name="Wipada Chanthaweethip" userId="9b1d58b2-9101-4125-9901-bbcec147f2c6" providerId="ADAL" clId="{6071432F-9294-4EC0-BA55-2246E426275D}" dt="2021-03-16T04:01:29.611" v="2584"/>
          <ac:spMkLst>
            <pc:docMk/>
            <pc:sldMk cId="59736145" sldId="2146846428"/>
            <ac:spMk id="87" creationId="{4635933D-D9EE-4E83-9141-A144B4A0DB70}"/>
          </ac:spMkLst>
        </pc:spChg>
        <pc:spChg chg="add mod">
          <ac:chgData name="Wipada Chanthaweethip" userId="9b1d58b2-9101-4125-9901-bbcec147f2c6" providerId="ADAL" clId="{6071432F-9294-4EC0-BA55-2246E426275D}" dt="2021-03-16T04:01:29.611" v="2584"/>
          <ac:spMkLst>
            <pc:docMk/>
            <pc:sldMk cId="59736145" sldId="2146846428"/>
            <ac:spMk id="90" creationId="{29D058FB-3611-4339-8A69-1BE818CB534F}"/>
          </ac:spMkLst>
        </pc:spChg>
        <pc:spChg chg="mod">
          <ac:chgData name="Wipada Chanthaweethip" userId="9b1d58b2-9101-4125-9901-bbcec147f2c6" providerId="ADAL" clId="{6071432F-9294-4EC0-BA55-2246E426275D}" dt="2021-03-16T06:37:15.804" v="2700" actId="208"/>
          <ac:spMkLst>
            <pc:docMk/>
            <pc:sldMk cId="59736145" sldId="2146846428"/>
            <ac:spMk id="92" creationId="{DD0D9A74-7880-4EAF-9C8A-725E14EB51B1}"/>
          </ac:spMkLst>
        </pc:spChg>
        <pc:spChg chg="mod">
          <ac:chgData name="Wipada Chanthaweethip" userId="9b1d58b2-9101-4125-9901-bbcec147f2c6" providerId="ADAL" clId="{6071432F-9294-4EC0-BA55-2246E426275D}" dt="2021-03-16T06:37:20.128" v="2701" actId="208"/>
          <ac:spMkLst>
            <pc:docMk/>
            <pc:sldMk cId="59736145" sldId="2146846428"/>
            <ac:spMk id="93" creationId="{9B29144B-AE42-4BF2-B094-A4405C4267DF}"/>
          </ac:spMkLst>
        </pc:spChg>
        <pc:spChg chg="mod">
          <ac:chgData name="Wipada Chanthaweethip" userId="9b1d58b2-9101-4125-9901-bbcec147f2c6" providerId="ADAL" clId="{6071432F-9294-4EC0-BA55-2246E426275D}" dt="2021-03-16T06:37:22.558" v="2702" actId="208"/>
          <ac:spMkLst>
            <pc:docMk/>
            <pc:sldMk cId="59736145" sldId="2146846428"/>
            <ac:spMk id="94" creationId="{612C947D-9526-432D-8AD5-12C0A2775ED5}"/>
          </ac:spMkLst>
        </pc:spChg>
        <pc:spChg chg="mod">
          <ac:chgData name="Wipada Chanthaweethip" userId="9b1d58b2-9101-4125-9901-bbcec147f2c6" providerId="ADAL" clId="{6071432F-9294-4EC0-BA55-2246E426275D}" dt="2021-03-16T04:01:39.865" v="2595" actId="20577"/>
          <ac:spMkLst>
            <pc:docMk/>
            <pc:sldMk cId="59736145" sldId="2146846428"/>
            <ac:spMk id="95" creationId="{738F923D-871F-4F00-B007-380BBFF0C155}"/>
          </ac:spMkLst>
        </pc:spChg>
        <pc:spChg chg="mod">
          <ac:chgData name="Wipada Chanthaweethip" userId="9b1d58b2-9101-4125-9901-bbcec147f2c6" providerId="ADAL" clId="{6071432F-9294-4EC0-BA55-2246E426275D}" dt="2021-03-16T04:01:45.667" v="2599" actId="20577"/>
          <ac:spMkLst>
            <pc:docMk/>
            <pc:sldMk cId="59736145" sldId="2146846428"/>
            <ac:spMk id="96" creationId="{ACA13DE2-0167-482B-9F6C-AC600A668F35}"/>
          </ac:spMkLst>
        </pc:spChg>
        <pc:spChg chg="mod">
          <ac:chgData name="Wipada Chanthaweethip" userId="9b1d58b2-9101-4125-9901-bbcec147f2c6" providerId="ADAL" clId="{6071432F-9294-4EC0-BA55-2246E426275D}" dt="2021-03-16T04:01:53.255" v="2607" actId="20577"/>
          <ac:spMkLst>
            <pc:docMk/>
            <pc:sldMk cId="59736145" sldId="2146846428"/>
            <ac:spMk id="97" creationId="{30C27155-2EA8-4B54-8C6C-705D4A26FC29}"/>
          </ac:spMkLst>
        </pc:spChg>
        <pc:spChg chg="del">
          <ac:chgData name="Wipada Chanthaweethip" userId="9b1d58b2-9101-4125-9901-bbcec147f2c6" providerId="ADAL" clId="{6071432F-9294-4EC0-BA55-2246E426275D}" dt="2021-03-16T04:01:25.774" v="2582" actId="478"/>
          <ac:spMkLst>
            <pc:docMk/>
            <pc:sldMk cId="59736145" sldId="2146846428"/>
            <ac:spMk id="342" creationId="{6C84C8E9-F02B-4662-B8A1-9B5149D32C1F}"/>
          </ac:spMkLst>
        </pc:spChg>
        <pc:spChg chg="del">
          <ac:chgData name="Wipada Chanthaweethip" userId="9b1d58b2-9101-4125-9901-bbcec147f2c6" providerId="ADAL" clId="{6071432F-9294-4EC0-BA55-2246E426275D}" dt="2021-03-16T04:01:29.232" v="2583" actId="478"/>
          <ac:spMkLst>
            <pc:docMk/>
            <pc:sldMk cId="59736145" sldId="2146846428"/>
            <ac:spMk id="358" creationId="{9FA4CE44-18BC-49AB-AF76-7E72F4A7C9FD}"/>
          </ac:spMkLst>
        </pc:spChg>
        <pc:spChg chg="del">
          <ac:chgData name="Wipada Chanthaweethip" userId="9b1d58b2-9101-4125-9901-bbcec147f2c6" providerId="ADAL" clId="{6071432F-9294-4EC0-BA55-2246E426275D}" dt="2021-03-16T04:01:29.232" v="2583" actId="478"/>
          <ac:spMkLst>
            <pc:docMk/>
            <pc:sldMk cId="59736145" sldId="2146846428"/>
            <ac:spMk id="370" creationId="{A3BDBF95-9A73-4F40-AB13-0715C9DD974E}"/>
          </ac:spMkLst>
        </pc:spChg>
        <pc:spChg chg="del">
          <ac:chgData name="Wipada Chanthaweethip" userId="9b1d58b2-9101-4125-9901-bbcec147f2c6" providerId="ADAL" clId="{6071432F-9294-4EC0-BA55-2246E426275D}" dt="2021-03-16T04:01:29.232" v="2583" actId="478"/>
          <ac:spMkLst>
            <pc:docMk/>
            <pc:sldMk cId="59736145" sldId="2146846428"/>
            <ac:spMk id="371" creationId="{2EA07D12-9E35-4A3D-B1BD-94CFF2E7B0A5}"/>
          </ac:spMkLst>
        </pc:spChg>
        <pc:spChg chg="del">
          <ac:chgData name="Wipada Chanthaweethip" userId="9b1d58b2-9101-4125-9901-bbcec147f2c6" providerId="ADAL" clId="{6071432F-9294-4EC0-BA55-2246E426275D}" dt="2021-03-16T04:01:29.232" v="2583" actId="478"/>
          <ac:spMkLst>
            <pc:docMk/>
            <pc:sldMk cId="59736145" sldId="2146846428"/>
            <ac:spMk id="392" creationId="{86F8F462-0607-4CCD-80FB-152A183E5665}"/>
          </ac:spMkLst>
        </pc:spChg>
        <pc:grpChg chg="add mod">
          <ac:chgData name="Wipada Chanthaweethip" userId="9b1d58b2-9101-4125-9901-bbcec147f2c6" providerId="ADAL" clId="{6071432F-9294-4EC0-BA55-2246E426275D}" dt="2021-03-16T04:01:29.611" v="2584"/>
          <ac:grpSpMkLst>
            <pc:docMk/>
            <pc:sldMk cId="59736145" sldId="2146846428"/>
            <ac:grpSpMk id="91" creationId="{3802BBAB-0254-411B-B2A4-1A46D348F7FC}"/>
          </ac:grpSpMkLst>
        </pc:grpChg>
        <pc:cxnChg chg="mod">
          <ac:chgData name="Wipada Chanthaweethip" userId="9b1d58b2-9101-4125-9901-bbcec147f2c6" providerId="ADAL" clId="{6071432F-9294-4EC0-BA55-2246E426275D}" dt="2021-03-16T06:37:43.287" v="2707" actId="208"/>
          <ac:cxnSpMkLst>
            <pc:docMk/>
            <pc:sldMk cId="59736145" sldId="2146846428"/>
            <ac:cxnSpMk id="68" creationId="{12F171D3-5A73-4CDD-A65B-86C99C2A9625}"/>
          </ac:cxnSpMkLst>
        </pc:cxnChg>
        <pc:cxnChg chg="mod">
          <ac:chgData name="Wipada Chanthaweethip" userId="9b1d58b2-9101-4125-9901-bbcec147f2c6" providerId="ADAL" clId="{6071432F-9294-4EC0-BA55-2246E426275D}" dt="2021-03-16T06:37:40.733" v="2706" actId="208"/>
          <ac:cxnSpMkLst>
            <pc:docMk/>
            <pc:sldMk cId="59736145" sldId="2146846428"/>
            <ac:cxnSpMk id="69" creationId="{43665FE7-2F66-4FEB-905F-1DF6F06B371E}"/>
          </ac:cxnSpMkLst>
        </pc:cxnChg>
        <pc:cxnChg chg="mod">
          <ac:chgData name="Wipada Chanthaweethip" userId="9b1d58b2-9101-4125-9901-bbcec147f2c6" providerId="ADAL" clId="{6071432F-9294-4EC0-BA55-2246E426275D}" dt="2021-03-16T06:37:46.573" v="2708" actId="208"/>
          <ac:cxnSpMkLst>
            <pc:docMk/>
            <pc:sldMk cId="59736145" sldId="2146846428"/>
            <ac:cxnSpMk id="70" creationId="{23ABC142-4BB3-4609-AE13-282303CF3531}"/>
          </ac:cxnSpMkLst>
        </pc:cxnChg>
        <pc:cxnChg chg="add mod">
          <ac:chgData name="Wipada Chanthaweethip" userId="9b1d58b2-9101-4125-9901-bbcec147f2c6" providerId="ADAL" clId="{6071432F-9294-4EC0-BA55-2246E426275D}" dt="2021-03-16T04:01:29.611" v="2584"/>
          <ac:cxnSpMkLst>
            <pc:docMk/>
            <pc:sldMk cId="59736145" sldId="2146846428"/>
            <ac:cxnSpMk id="80" creationId="{64A74893-CB28-40CA-BD25-8963622810A4}"/>
          </ac:cxnSpMkLst>
        </pc:cxnChg>
        <pc:cxnChg chg="add mod">
          <ac:chgData name="Wipada Chanthaweethip" userId="9b1d58b2-9101-4125-9901-bbcec147f2c6" providerId="ADAL" clId="{6071432F-9294-4EC0-BA55-2246E426275D}" dt="2021-03-16T04:01:29.611" v="2584"/>
          <ac:cxnSpMkLst>
            <pc:docMk/>
            <pc:sldMk cId="59736145" sldId="2146846428"/>
            <ac:cxnSpMk id="88" creationId="{93F61F10-AE3A-46E0-BB5F-1E99979EDCDC}"/>
          </ac:cxnSpMkLst>
        </pc:cxnChg>
        <pc:cxnChg chg="add mod">
          <ac:chgData name="Wipada Chanthaweethip" userId="9b1d58b2-9101-4125-9901-bbcec147f2c6" providerId="ADAL" clId="{6071432F-9294-4EC0-BA55-2246E426275D}" dt="2021-03-16T04:01:29.611" v="2584"/>
          <ac:cxnSpMkLst>
            <pc:docMk/>
            <pc:sldMk cId="59736145" sldId="2146846428"/>
            <ac:cxnSpMk id="89" creationId="{E8489D67-D422-451A-980D-0EBFD24B499E}"/>
          </ac:cxnSpMkLst>
        </pc:cxnChg>
      </pc:sldChg>
      <pc:sldChg chg="add del">
        <pc:chgData name="Wipada Chanthaweethip" userId="9b1d58b2-9101-4125-9901-bbcec147f2c6" providerId="ADAL" clId="{6071432F-9294-4EC0-BA55-2246E426275D}" dt="2021-03-16T04:01:09.359" v="2581"/>
        <pc:sldMkLst>
          <pc:docMk/>
          <pc:sldMk cId="3954344847" sldId="2146846428"/>
        </pc:sldMkLst>
      </pc:sldChg>
      <pc:sldChg chg="addSp delSp modSp mod">
        <pc:chgData name="Wipada Chanthaweethip" userId="9b1d58b2-9101-4125-9901-bbcec147f2c6" providerId="ADAL" clId="{6071432F-9294-4EC0-BA55-2246E426275D}" dt="2021-03-17T03:26:40.196" v="2730" actId="1076"/>
        <pc:sldMkLst>
          <pc:docMk/>
          <pc:sldMk cId="2699566970" sldId="2146846429"/>
        </pc:sldMkLst>
        <pc:spChg chg="mod topLvl">
          <ac:chgData name="Wipada Chanthaweethip" userId="9b1d58b2-9101-4125-9901-bbcec147f2c6" providerId="ADAL" clId="{6071432F-9294-4EC0-BA55-2246E426275D}" dt="2021-03-16T04:02:24.874" v="2609" actId="165"/>
          <ac:spMkLst>
            <pc:docMk/>
            <pc:sldMk cId="2699566970" sldId="2146846429"/>
            <ac:spMk id="4" creationId="{3106D8F3-0136-4469-BB75-3CA9BA14117A}"/>
          </ac:spMkLst>
        </pc:spChg>
        <pc:spChg chg="del mod topLvl">
          <ac:chgData name="Wipada Chanthaweethip" userId="9b1d58b2-9101-4125-9901-bbcec147f2c6" providerId="ADAL" clId="{6071432F-9294-4EC0-BA55-2246E426275D}" dt="2021-03-16T04:02:27.735" v="2610" actId="478"/>
          <ac:spMkLst>
            <pc:docMk/>
            <pc:sldMk cId="2699566970" sldId="2146846429"/>
            <ac:spMk id="18" creationId="{AAB76947-EF5F-46C8-8E71-0B7EE7BDB44D}"/>
          </ac:spMkLst>
        </pc:spChg>
        <pc:spChg chg="del mod topLvl">
          <ac:chgData name="Wipada Chanthaweethip" userId="9b1d58b2-9101-4125-9901-bbcec147f2c6" providerId="ADAL" clId="{6071432F-9294-4EC0-BA55-2246E426275D}" dt="2021-03-16T04:02:27.735" v="2610" actId="478"/>
          <ac:spMkLst>
            <pc:docMk/>
            <pc:sldMk cId="2699566970" sldId="2146846429"/>
            <ac:spMk id="19" creationId="{87CF505F-FD28-4A7B-B070-F139B01D04CC}"/>
          </ac:spMkLst>
        </pc:spChg>
        <pc:spChg chg="mod">
          <ac:chgData name="Wipada Chanthaweethip" userId="9b1d58b2-9101-4125-9901-bbcec147f2c6" providerId="ADAL" clId="{6071432F-9294-4EC0-BA55-2246E426275D}" dt="2021-03-16T06:38:00.150" v="2710" actId="208"/>
          <ac:spMkLst>
            <pc:docMk/>
            <pc:sldMk cId="2699566970" sldId="2146846429"/>
            <ac:spMk id="20" creationId="{AD1AD0BB-5EF0-4D6E-AD1B-D1C319E47D6F}"/>
          </ac:spMkLst>
        </pc:spChg>
        <pc:spChg chg="mod">
          <ac:chgData name="Wipada Chanthaweethip" userId="9b1d58b2-9101-4125-9901-bbcec147f2c6" providerId="ADAL" clId="{6071432F-9294-4EC0-BA55-2246E426275D}" dt="2021-03-16T06:38:04.412" v="2711" actId="208"/>
          <ac:spMkLst>
            <pc:docMk/>
            <pc:sldMk cId="2699566970" sldId="2146846429"/>
            <ac:spMk id="21" creationId="{C45F5569-3DE4-49E7-989B-F624E8B0158A}"/>
          </ac:spMkLst>
        </pc:spChg>
        <pc:spChg chg="mod">
          <ac:chgData name="Wipada Chanthaweethip" userId="9b1d58b2-9101-4125-9901-bbcec147f2c6" providerId="ADAL" clId="{6071432F-9294-4EC0-BA55-2246E426275D}" dt="2021-03-16T06:38:06.795" v="2712" actId="208"/>
          <ac:spMkLst>
            <pc:docMk/>
            <pc:sldMk cId="2699566970" sldId="2146846429"/>
            <ac:spMk id="22" creationId="{13A6139E-0A34-4803-A17E-6FDD61E011F7}"/>
          </ac:spMkLst>
        </pc:spChg>
        <pc:spChg chg="mod">
          <ac:chgData name="Wipada Chanthaweethip" userId="9b1d58b2-9101-4125-9901-bbcec147f2c6" providerId="ADAL" clId="{6071432F-9294-4EC0-BA55-2246E426275D}" dt="2021-03-16T06:38:09.114" v="2713" actId="208"/>
          <ac:spMkLst>
            <pc:docMk/>
            <pc:sldMk cId="2699566970" sldId="2146846429"/>
            <ac:spMk id="23" creationId="{86DFCC37-64E3-40FF-AF5D-095FAEC94E7D}"/>
          </ac:spMkLst>
        </pc:spChg>
        <pc:spChg chg="mod">
          <ac:chgData name="Wipada Chanthaweethip" userId="9b1d58b2-9101-4125-9901-bbcec147f2c6" providerId="ADAL" clId="{6071432F-9294-4EC0-BA55-2246E426275D}" dt="2021-03-16T04:02:24.874" v="2609" actId="165"/>
          <ac:spMkLst>
            <pc:docMk/>
            <pc:sldMk cId="2699566970" sldId="2146846429"/>
            <ac:spMk id="27" creationId="{CF4DF96B-7A0E-4F20-AE1D-EECCC2F1E11F}"/>
          </ac:spMkLst>
        </pc:spChg>
        <pc:spChg chg="mod">
          <ac:chgData name="Wipada Chanthaweethip" userId="9b1d58b2-9101-4125-9901-bbcec147f2c6" providerId="ADAL" clId="{6071432F-9294-4EC0-BA55-2246E426275D}" dt="2021-03-16T04:02:24.874" v="2609" actId="165"/>
          <ac:spMkLst>
            <pc:docMk/>
            <pc:sldMk cId="2699566970" sldId="2146846429"/>
            <ac:spMk id="28" creationId="{1731FCFC-4EB4-4B69-86F9-A85892C3E8C5}"/>
          </ac:spMkLst>
        </pc:spChg>
        <pc:spChg chg="mod">
          <ac:chgData name="Wipada Chanthaweethip" userId="9b1d58b2-9101-4125-9901-bbcec147f2c6" providerId="ADAL" clId="{6071432F-9294-4EC0-BA55-2246E426275D}" dt="2021-03-16T04:02:24.874" v="2609" actId="165"/>
          <ac:spMkLst>
            <pc:docMk/>
            <pc:sldMk cId="2699566970" sldId="2146846429"/>
            <ac:spMk id="29" creationId="{D0C73C54-A7D2-43BC-8D76-5F955EBEF711}"/>
          </ac:spMkLst>
        </pc:spChg>
        <pc:spChg chg="mod">
          <ac:chgData name="Wipada Chanthaweethip" userId="9b1d58b2-9101-4125-9901-bbcec147f2c6" providerId="ADAL" clId="{6071432F-9294-4EC0-BA55-2246E426275D}" dt="2021-03-16T04:02:24.874" v="2609" actId="165"/>
          <ac:spMkLst>
            <pc:docMk/>
            <pc:sldMk cId="2699566970" sldId="2146846429"/>
            <ac:spMk id="30" creationId="{9C45373B-4CF5-428E-B686-13407C50EAA6}"/>
          </ac:spMkLst>
        </pc:spChg>
        <pc:spChg chg="add mod">
          <ac:chgData name="Wipada Chanthaweethip" userId="9b1d58b2-9101-4125-9901-bbcec147f2c6" providerId="ADAL" clId="{6071432F-9294-4EC0-BA55-2246E426275D}" dt="2021-03-16T04:02:33.139" v="2612" actId="1076"/>
          <ac:spMkLst>
            <pc:docMk/>
            <pc:sldMk cId="2699566970" sldId="2146846429"/>
            <ac:spMk id="31" creationId="{0AB8CE21-5B95-45DA-BD22-18602F097E45}"/>
          </ac:spMkLst>
        </pc:spChg>
        <pc:spChg chg="add mod">
          <ac:chgData name="Wipada Chanthaweethip" userId="9b1d58b2-9101-4125-9901-bbcec147f2c6" providerId="ADAL" clId="{6071432F-9294-4EC0-BA55-2246E426275D}" dt="2021-03-16T04:02:33.139" v="2612" actId="1076"/>
          <ac:spMkLst>
            <pc:docMk/>
            <pc:sldMk cId="2699566970" sldId="2146846429"/>
            <ac:spMk id="33" creationId="{862DF69A-65FD-4B42-80CA-68CB85BB8DC3}"/>
          </ac:spMkLst>
        </pc:spChg>
        <pc:spChg chg="add mod">
          <ac:chgData name="Wipada Chanthaweethip" userId="9b1d58b2-9101-4125-9901-bbcec147f2c6" providerId="ADAL" clId="{6071432F-9294-4EC0-BA55-2246E426275D}" dt="2021-03-16T06:38:19.188" v="2717" actId="208"/>
          <ac:spMkLst>
            <pc:docMk/>
            <pc:sldMk cId="2699566970" sldId="2146846429"/>
            <ac:spMk id="34" creationId="{70714EAF-9386-4067-A6ED-E295D9D3CA23}"/>
          </ac:spMkLst>
        </pc:spChg>
        <pc:spChg chg="del mod topLvl">
          <ac:chgData name="Wipada Chanthaweethip" userId="9b1d58b2-9101-4125-9901-bbcec147f2c6" providerId="ADAL" clId="{6071432F-9294-4EC0-BA55-2246E426275D}" dt="2021-03-16T04:02:27.735" v="2610" actId="478"/>
          <ac:spMkLst>
            <pc:docMk/>
            <pc:sldMk cId="2699566970" sldId="2146846429"/>
            <ac:spMk id="35" creationId="{BCDDAA8A-5314-4374-AE63-E924F9BC1A9C}"/>
          </ac:spMkLst>
        </pc:spChg>
        <pc:spChg chg="add mod">
          <ac:chgData name="Wipada Chanthaweethip" userId="9b1d58b2-9101-4125-9901-bbcec147f2c6" providerId="ADAL" clId="{6071432F-9294-4EC0-BA55-2246E426275D}" dt="2021-03-16T06:38:22.491" v="2718" actId="208"/>
          <ac:spMkLst>
            <pc:docMk/>
            <pc:sldMk cId="2699566970" sldId="2146846429"/>
            <ac:spMk id="36" creationId="{F50B1C16-DBB5-4EA7-B2CA-7EA1056AE63E}"/>
          </ac:spMkLst>
        </pc:spChg>
        <pc:spChg chg="add mod">
          <ac:chgData name="Wipada Chanthaweethip" userId="9b1d58b2-9101-4125-9901-bbcec147f2c6" providerId="ADAL" clId="{6071432F-9294-4EC0-BA55-2246E426275D}" dt="2021-03-16T06:38:25.089" v="2719" actId="208"/>
          <ac:spMkLst>
            <pc:docMk/>
            <pc:sldMk cId="2699566970" sldId="2146846429"/>
            <ac:spMk id="37" creationId="{E21F8956-DC90-4B31-B69B-297EFFB6BAEE}"/>
          </ac:spMkLst>
        </pc:spChg>
        <pc:spChg chg="add mod">
          <ac:chgData name="Wipada Chanthaweethip" userId="9b1d58b2-9101-4125-9901-bbcec147f2c6" providerId="ADAL" clId="{6071432F-9294-4EC0-BA55-2246E426275D}" dt="2021-03-16T04:02:42.464" v="2620" actId="20577"/>
          <ac:spMkLst>
            <pc:docMk/>
            <pc:sldMk cId="2699566970" sldId="2146846429"/>
            <ac:spMk id="38" creationId="{4F9AB7D4-E5C0-494B-95B0-CF3B9A607EF2}"/>
          </ac:spMkLst>
        </pc:spChg>
        <pc:spChg chg="add mod">
          <ac:chgData name="Wipada Chanthaweethip" userId="9b1d58b2-9101-4125-9901-bbcec147f2c6" providerId="ADAL" clId="{6071432F-9294-4EC0-BA55-2246E426275D}" dt="2021-03-16T04:02:50.670" v="2626" actId="20577"/>
          <ac:spMkLst>
            <pc:docMk/>
            <pc:sldMk cId="2699566970" sldId="2146846429"/>
            <ac:spMk id="39" creationId="{D61B2562-2882-479F-9C09-30263D01D70C}"/>
          </ac:spMkLst>
        </pc:spChg>
        <pc:spChg chg="add mod">
          <ac:chgData name="Wipada Chanthaweethip" userId="9b1d58b2-9101-4125-9901-bbcec147f2c6" providerId="ADAL" clId="{6071432F-9294-4EC0-BA55-2246E426275D}" dt="2021-03-16T04:02:57.229" v="2630" actId="20577"/>
          <ac:spMkLst>
            <pc:docMk/>
            <pc:sldMk cId="2699566970" sldId="2146846429"/>
            <ac:spMk id="40" creationId="{AF7E24CC-39BE-4499-960A-6DF34800F028}"/>
          </ac:spMkLst>
        </pc:spChg>
        <pc:spChg chg="add mod">
          <ac:chgData name="Wipada Chanthaweethip" userId="9b1d58b2-9101-4125-9901-bbcec147f2c6" providerId="ADAL" clId="{6071432F-9294-4EC0-BA55-2246E426275D}" dt="2021-03-16T04:02:33.139" v="2612" actId="1076"/>
          <ac:spMkLst>
            <pc:docMk/>
            <pc:sldMk cId="2699566970" sldId="2146846429"/>
            <ac:spMk id="42" creationId="{E3517EA5-5B69-4C0F-92FC-DB8B0DB8579E}"/>
          </ac:spMkLst>
        </pc:spChg>
        <pc:spChg chg="add mod">
          <ac:chgData name="Wipada Chanthaweethip" userId="9b1d58b2-9101-4125-9901-bbcec147f2c6" providerId="ADAL" clId="{6071432F-9294-4EC0-BA55-2246E426275D}" dt="2021-03-16T04:02:33.139" v="2612" actId="1076"/>
          <ac:spMkLst>
            <pc:docMk/>
            <pc:sldMk cId="2699566970" sldId="2146846429"/>
            <ac:spMk id="44" creationId="{6FAA6E01-6560-4F69-BAFA-6B347996097D}"/>
          </ac:spMkLst>
        </pc:spChg>
        <pc:spChg chg="add mod">
          <ac:chgData name="Wipada Chanthaweethip" userId="9b1d58b2-9101-4125-9901-bbcec147f2c6" providerId="ADAL" clId="{6071432F-9294-4EC0-BA55-2246E426275D}" dt="2021-03-16T04:02:33.139" v="2612" actId="1076"/>
          <ac:spMkLst>
            <pc:docMk/>
            <pc:sldMk cId="2699566970" sldId="2146846429"/>
            <ac:spMk id="45" creationId="{BD684D0E-DC2A-4537-A018-ED4975243498}"/>
          </ac:spMkLst>
        </pc:spChg>
        <pc:spChg chg="add mod">
          <ac:chgData name="Wipada Chanthaweethip" userId="9b1d58b2-9101-4125-9901-bbcec147f2c6" providerId="ADAL" clId="{6071432F-9294-4EC0-BA55-2246E426275D}" dt="2021-03-16T04:02:33.139" v="2612" actId="1076"/>
          <ac:spMkLst>
            <pc:docMk/>
            <pc:sldMk cId="2699566970" sldId="2146846429"/>
            <ac:spMk id="46" creationId="{0408612D-CF25-4F9F-A453-32E9EA7C5792}"/>
          </ac:spMkLst>
        </pc:spChg>
        <pc:spChg chg="add mod">
          <ac:chgData name="Wipada Chanthaweethip" userId="9b1d58b2-9101-4125-9901-bbcec147f2c6" providerId="ADAL" clId="{6071432F-9294-4EC0-BA55-2246E426275D}" dt="2021-03-16T04:04:15.254" v="2649" actId="20577"/>
          <ac:spMkLst>
            <pc:docMk/>
            <pc:sldMk cId="2699566970" sldId="2146846429"/>
            <ac:spMk id="47" creationId="{BCFBF5DB-DF77-41B2-A9F6-0D2A762E0042}"/>
          </ac:spMkLst>
        </pc:spChg>
        <pc:spChg chg="del mod">
          <ac:chgData name="Wipada Chanthaweethip" userId="9b1d58b2-9101-4125-9901-bbcec147f2c6" providerId="ADAL" clId="{6071432F-9294-4EC0-BA55-2246E426275D}" dt="2021-03-16T04:03:53.951" v="2635" actId="478"/>
          <ac:spMkLst>
            <pc:docMk/>
            <pc:sldMk cId="2699566970" sldId="2146846429"/>
            <ac:spMk id="55" creationId="{9CF7B8B1-1B80-45B0-9FF2-7920B9D4BEBB}"/>
          </ac:spMkLst>
        </pc:spChg>
        <pc:grpChg chg="mod topLvl">
          <ac:chgData name="Wipada Chanthaweethip" userId="9b1d58b2-9101-4125-9901-bbcec147f2c6" providerId="ADAL" clId="{6071432F-9294-4EC0-BA55-2246E426275D}" dt="2021-03-16T04:02:24.874" v="2609" actId="165"/>
          <ac:grpSpMkLst>
            <pc:docMk/>
            <pc:sldMk cId="2699566970" sldId="2146846429"/>
            <ac:grpSpMk id="58" creationId="{F186289B-9B7E-46E8-A28D-0D97F1495674}"/>
          </ac:grpSpMkLst>
        </pc:grpChg>
        <pc:grpChg chg="del">
          <ac:chgData name="Wipada Chanthaweethip" userId="9b1d58b2-9101-4125-9901-bbcec147f2c6" providerId="ADAL" clId="{6071432F-9294-4EC0-BA55-2246E426275D}" dt="2021-03-16T04:02:24.874" v="2609" actId="165"/>
          <ac:grpSpMkLst>
            <pc:docMk/>
            <pc:sldMk cId="2699566970" sldId="2146846429"/>
            <ac:grpSpMk id="63" creationId="{C5E11930-7024-4007-90DE-D7B6ECDDFABC}"/>
          </ac:grpSpMkLst>
        </pc:grpChg>
        <pc:picChg chg="mod topLvl">
          <ac:chgData name="Wipada Chanthaweethip" userId="9b1d58b2-9101-4125-9901-bbcec147f2c6" providerId="ADAL" clId="{6071432F-9294-4EC0-BA55-2246E426275D}" dt="2021-03-16T04:02:24.874" v="2609" actId="165"/>
          <ac:picMkLst>
            <pc:docMk/>
            <pc:sldMk cId="2699566970" sldId="2146846429"/>
            <ac:picMk id="5" creationId="{061CAA94-C70D-4424-89F9-56007F9AEABF}"/>
          </ac:picMkLst>
        </pc:picChg>
        <pc:cxnChg chg="mod">
          <ac:chgData name="Wipada Chanthaweethip" userId="9b1d58b2-9101-4125-9901-bbcec147f2c6" providerId="ADAL" clId="{6071432F-9294-4EC0-BA55-2246E426275D}" dt="2021-03-16T06:38:14.102" v="2715" actId="208"/>
          <ac:cxnSpMkLst>
            <pc:docMk/>
            <pc:sldMk cId="2699566970" sldId="2146846429"/>
            <ac:cxnSpMk id="24" creationId="{0D247628-7C80-4910-888A-93CE00B151B9}"/>
          </ac:cxnSpMkLst>
        </pc:cxnChg>
        <pc:cxnChg chg="mod">
          <ac:chgData name="Wipada Chanthaweethip" userId="9b1d58b2-9101-4125-9901-bbcec147f2c6" providerId="ADAL" clId="{6071432F-9294-4EC0-BA55-2246E426275D}" dt="2021-03-16T06:38:11.689" v="2714" actId="208"/>
          <ac:cxnSpMkLst>
            <pc:docMk/>
            <pc:sldMk cId="2699566970" sldId="2146846429"/>
            <ac:cxnSpMk id="25" creationId="{D91107C2-14AF-481F-91BB-CCD9E9D2ADA2}"/>
          </ac:cxnSpMkLst>
        </pc:cxnChg>
        <pc:cxnChg chg="mod">
          <ac:chgData name="Wipada Chanthaweethip" userId="9b1d58b2-9101-4125-9901-bbcec147f2c6" providerId="ADAL" clId="{6071432F-9294-4EC0-BA55-2246E426275D}" dt="2021-03-16T06:38:16.619" v="2716" actId="208"/>
          <ac:cxnSpMkLst>
            <pc:docMk/>
            <pc:sldMk cId="2699566970" sldId="2146846429"/>
            <ac:cxnSpMk id="26" creationId="{1ACD462D-5C4D-474C-BF2C-AFA033D9509D}"/>
          </ac:cxnSpMkLst>
        </pc:cxnChg>
        <pc:cxnChg chg="del mod topLvl">
          <ac:chgData name="Wipada Chanthaweethip" userId="9b1d58b2-9101-4125-9901-bbcec147f2c6" providerId="ADAL" clId="{6071432F-9294-4EC0-BA55-2246E426275D}" dt="2021-03-16T04:02:27.735" v="2610" actId="478"/>
          <ac:cxnSpMkLst>
            <pc:docMk/>
            <pc:sldMk cId="2699566970" sldId="2146846429"/>
            <ac:cxnSpMk id="32" creationId="{E69F9B06-09F2-43BD-9A9E-E6EF8A298F3C}"/>
          </ac:cxnSpMkLst>
        </pc:cxnChg>
        <pc:cxnChg chg="add del mod">
          <ac:chgData name="Wipada Chanthaweethip" userId="9b1d58b2-9101-4125-9901-bbcec147f2c6" providerId="ADAL" clId="{6071432F-9294-4EC0-BA55-2246E426275D}" dt="2021-03-17T03:26:33.508" v="2728" actId="478"/>
          <ac:cxnSpMkLst>
            <pc:docMk/>
            <pc:sldMk cId="2699566970" sldId="2146846429"/>
            <ac:cxnSpMk id="41" creationId="{46ACBF0B-68D0-4118-B036-069308CC8804}"/>
          </ac:cxnSpMkLst>
        </pc:cxnChg>
        <pc:cxnChg chg="add mod">
          <ac:chgData name="Wipada Chanthaweethip" userId="9b1d58b2-9101-4125-9901-bbcec147f2c6" providerId="ADAL" clId="{6071432F-9294-4EC0-BA55-2246E426275D}" dt="2021-03-17T03:26:29.563" v="2727" actId="14100"/>
          <ac:cxnSpMkLst>
            <pc:docMk/>
            <pc:sldMk cId="2699566970" sldId="2146846429"/>
            <ac:cxnSpMk id="43" creationId="{3404D957-7428-4944-9B16-27E4F7754949}"/>
          </ac:cxnSpMkLst>
        </pc:cxnChg>
        <pc:cxnChg chg="add mod">
          <ac:chgData name="Wipada Chanthaweethip" userId="9b1d58b2-9101-4125-9901-bbcec147f2c6" providerId="ADAL" clId="{6071432F-9294-4EC0-BA55-2246E426275D}" dt="2021-03-17T03:26:40.196" v="2730" actId="1076"/>
          <ac:cxnSpMkLst>
            <pc:docMk/>
            <pc:sldMk cId="2699566970" sldId="2146846429"/>
            <ac:cxnSpMk id="48" creationId="{48297F2D-1BF2-4557-86B6-0DAA69FEB450}"/>
          </ac:cxnSpMkLst>
        </pc:cxnChg>
      </pc:sldChg>
      <pc:sldChg chg="add del">
        <pc:chgData name="Wipada Chanthaweethip" userId="9b1d58b2-9101-4125-9901-bbcec147f2c6" providerId="ADAL" clId="{6071432F-9294-4EC0-BA55-2246E426275D}" dt="2021-03-16T04:04:30.309" v="2652"/>
        <pc:sldMkLst>
          <pc:docMk/>
          <pc:sldMk cId="422462251" sldId="2146846430"/>
        </pc:sldMkLst>
      </pc:sldChg>
      <pc:sldChg chg="modSp add mod">
        <pc:chgData name="Wipada Chanthaweethip" userId="9b1d58b2-9101-4125-9901-bbcec147f2c6" providerId="ADAL" clId="{6071432F-9294-4EC0-BA55-2246E426275D}" dt="2021-03-16T04:04:43.191" v="2656" actId="207"/>
        <pc:sldMkLst>
          <pc:docMk/>
          <pc:sldMk cId="1753903435" sldId="2146846430"/>
        </pc:sldMkLst>
        <pc:spChg chg="mod">
          <ac:chgData name="Wipada Chanthaweethip" userId="9b1d58b2-9101-4125-9901-bbcec147f2c6" providerId="ADAL" clId="{6071432F-9294-4EC0-BA55-2246E426275D}" dt="2021-03-16T04:04:43.191" v="2656" actId="207"/>
          <ac:spMkLst>
            <pc:docMk/>
            <pc:sldMk cId="1753903435" sldId="2146846430"/>
            <ac:spMk id="4" creationId="{F1A00794-9E11-49A9-97EC-61DBBE0EC2C0}"/>
          </ac:spMkLst>
        </pc:spChg>
      </pc:sldChg>
      <pc:sldChg chg="modSp add mod">
        <pc:chgData name="Wipada Chanthaweethip" userId="9b1d58b2-9101-4125-9901-bbcec147f2c6" providerId="ADAL" clId="{6071432F-9294-4EC0-BA55-2246E426275D}" dt="2021-03-16T04:04:59.383" v="2671" actId="20577"/>
        <pc:sldMkLst>
          <pc:docMk/>
          <pc:sldMk cId="4001252887" sldId="2146846431"/>
        </pc:sldMkLst>
        <pc:spChg chg="mod">
          <ac:chgData name="Wipada Chanthaweethip" userId="9b1d58b2-9101-4125-9901-bbcec147f2c6" providerId="ADAL" clId="{6071432F-9294-4EC0-BA55-2246E426275D}" dt="2021-03-16T04:04:59.383" v="2671" actId="20577"/>
          <ac:spMkLst>
            <pc:docMk/>
            <pc:sldMk cId="4001252887" sldId="2146846431"/>
            <ac:spMk id="6" creationId="{3D8384C1-5DD0-4F35-B554-A7C273CFBB05}"/>
          </ac:spMkLst>
        </pc:spChg>
      </pc:sldChg>
      <pc:sldChg chg="addSp delSp modSp mod">
        <pc:chgData name="Wipada Chanthaweethip" userId="9b1d58b2-9101-4125-9901-bbcec147f2c6" providerId="ADAL" clId="{6071432F-9294-4EC0-BA55-2246E426275D}" dt="2021-03-18T01:33:56.129" v="2732"/>
        <pc:sldMkLst>
          <pc:docMk/>
          <pc:sldMk cId="717121598" sldId="2146846432"/>
        </pc:sldMkLst>
        <pc:picChg chg="del mod">
          <ac:chgData name="Wipada Chanthaweethip" userId="9b1d58b2-9101-4125-9901-bbcec147f2c6" providerId="ADAL" clId="{6071432F-9294-4EC0-BA55-2246E426275D}" dt="2021-03-18T01:33:55.570" v="2731" actId="478"/>
          <ac:picMkLst>
            <pc:docMk/>
            <pc:sldMk cId="717121598" sldId="2146846432"/>
            <ac:picMk id="9" creationId="{D091F185-5DB8-4416-AFC4-742BE957717C}"/>
          </ac:picMkLst>
        </pc:picChg>
        <pc:picChg chg="add mod">
          <ac:chgData name="Wipada Chanthaweethip" userId="9b1d58b2-9101-4125-9901-bbcec147f2c6" providerId="ADAL" clId="{6071432F-9294-4EC0-BA55-2246E426275D}" dt="2021-03-18T01:33:56.129" v="2732"/>
          <ac:picMkLst>
            <pc:docMk/>
            <pc:sldMk cId="717121598" sldId="2146846432"/>
            <ac:picMk id="45" creationId="{5A25403F-A4C9-4BFE-BB0E-108B65015BE4}"/>
          </ac:picMkLst>
        </pc:picChg>
      </pc:sldChg>
      <pc:sldChg chg="addSp delSp modSp mod">
        <pc:chgData name="Wipada Chanthaweethip" userId="9b1d58b2-9101-4125-9901-bbcec147f2c6" providerId="ADAL" clId="{6071432F-9294-4EC0-BA55-2246E426275D}" dt="2021-03-18T01:33:59.963" v="2734"/>
        <pc:sldMkLst>
          <pc:docMk/>
          <pc:sldMk cId="4222585927" sldId="2146846433"/>
        </pc:sldMkLst>
        <pc:picChg chg="del mod">
          <ac:chgData name="Wipada Chanthaweethip" userId="9b1d58b2-9101-4125-9901-bbcec147f2c6" providerId="ADAL" clId="{6071432F-9294-4EC0-BA55-2246E426275D}" dt="2021-03-18T01:33:59.624" v="2733" actId="478"/>
          <ac:picMkLst>
            <pc:docMk/>
            <pc:sldMk cId="4222585927" sldId="2146846433"/>
            <ac:picMk id="9" creationId="{D091F185-5DB8-4416-AFC4-742BE957717C}"/>
          </ac:picMkLst>
        </pc:picChg>
        <pc:picChg chg="add mod">
          <ac:chgData name="Wipada Chanthaweethip" userId="9b1d58b2-9101-4125-9901-bbcec147f2c6" providerId="ADAL" clId="{6071432F-9294-4EC0-BA55-2246E426275D}" dt="2021-03-18T01:33:59.963" v="2734"/>
          <ac:picMkLst>
            <pc:docMk/>
            <pc:sldMk cId="4222585927" sldId="2146846433"/>
            <ac:picMk id="65" creationId="{FD458A20-DDD5-4988-BE1C-55DE6E385729}"/>
          </ac:picMkLst>
        </pc:picChg>
      </pc:sldChg>
      <pc:sldChg chg="addSp delSp modSp mod">
        <pc:chgData name="Wipada Chanthaweethip" userId="9b1d58b2-9101-4125-9901-bbcec147f2c6" providerId="ADAL" clId="{6071432F-9294-4EC0-BA55-2246E426275D}" dt="2021-03-18T01:34:15.184" v="2736"/>
        <pc:sldMkLst>
          <pc:docMk/>
          <pc:sldMk cId="4141626266" sldId="2146846434"/>
        </pc:sldMkLst>
        <pc:picChg chg="del">
          <ac:chgData name="Wipada Chanthaweethip" userId="9b1d58b2-9101-4125-9901-bbcec147f2c6" providerId="ADAL" clId="{6071432F-9294-4EC0-BA55-2246E426275D}" dt="2021-03-18T01:34:14.854" v="2735" actId="478"/>
          <ac:picMkLst>
            <pc:docMk/>
            <pc:sldMk cId="4141626266" sldId="2146846434"/>
            <ac:picMk id="9" creationId="{D091F185-5DB8-4416-AFC4-742BE957717C}"/>
          </ac:picMkLst>
        </pc:picChg>
        <pc:picChg chg="add mod">
          <ac:chgData name="Wipada Chanthaweethip" userId="9b1d58b2-9101-4125-9901-bbcec147f2c6" providerId="ADAL" clId="{6071432F-9294-4EC0-BA55-2246E426275D}" dt="2021-03-18T01:34:15.184" v="2736"/>
          <ac:picMkLst>
            <pc:docMk/>
            <pc:sldMk cId="4141626266" sldId="2146846434"/>
            <ac:picMk id="42" creationId="{4C88C49A-22D4-4E3D-B4B9-78BC12530D8B}"/>
          </ac:picMkLst>
        </pc:picChg>
      </pc:sldChg>
      <pc:sldChg chg="addSp delSp modSp mod">
        <pc:chgData name="Wipada Chanthaweethip" userId="9b1d58b2-9101-4125-9901-bbcec147f2c6" providerId="ADAL" clId="{6071432F-9294-4EC0-BA55-2246E426275D}" dt="2021-03-18T01:34:19.024" v="2738"/>
        <pc:sldMkLst>
          <pc:docMk/>
          <pc:sldMk cId="1550375621" sldId="2146846435"/>
        </pc:sldMkLst>
        <pc:picChg chg="del">
          <ac:chgData name="Wipada Chanthaweethip" userId="9b1d58b2-9101-4125-9901-bbcec147f2c6" providerId="ADAL" clId="{6071432F-9294-4EC0-BA55-2246E426275D}" dt="2021-03-18T01:34:18.679" v="2737" actId="478"/>
          <ac:picMkLst>
            <pc:docMk/>
            <pc:sldMk cId="1550375621" sldId="2146846435"/>
            <ac:picMk id="9" creationId="{D091F185-5DB8-4416-AFC4-742BE957717C}"/>
          </ac:picMkLst>
        </pc:picChg>
        <pc:picChg chg="add mod">
          <ac:chgData name="Wipada Chanthaweethip" userId="9b1d58b2-9101-4125-9901-bbcec147f2c6" providerId="ADAL" clId="{6071432F-9294-4EC0-BA55-2246E426275D}" dt="2021-03-18T01:34:19.024" v="2738"/>
          <ac:picMkLst>
            <pc:docMk/>
            <pc:sldMk cId="1550375621" sldId="2146846435"/>
            <ac:picMk id="54" creationId="{0DFF2769-CB35-409F-90BA-5619824D75CA}"/>
          </ac:picMkLst>
        </pc:picChg>
      </pc:sldChg>
      <pc:sldChg chg="modSp mod">
        <pc:chgData name="Wipada Chanthaweethip" userId="9b1d58b2-9101-4125-9901-bbcec147f2c6" providerId="ADAL" clId="{6071432F-9294-4EC0-BA55-2246E426275D}" dt="2021-03-22T07:05:59.859" v="2740" actId="1076"/>
        <pc:sldMkLst>
          <pc:docMk/>
          <pc:sldMk cId="2122923565" sldId="2146846436"/>
        </pc:sldMkLst>
        <pc:spChg chg="mod">
          <ac:chgData name="Wipada Chanthaweethip" userId="9b1d58b2-9101-4125-9901-bbcec147f2c6" providerId="ADAL" clId="{6071432F-9294-4EC0-BA55-2246E426275D}" dt="2021-03-22T07:05:59.859" v="2740" actId="1076"/>
          <ac:spMkLst>
            <pc:docMk/>
            <pc:sldMk cId="2122923565" sldId="2146846436"/>
            <ac:spMk id="11" creationId="{8667D51A-42DA-40B2-BF31-715DD08FCACA}"/>
          </ac:spMkLst>
        </pc:spChg>
        <pc:spChg chg="mod">
          <ac:chgData name="Wipada Chanthaweethip" userId="9b1d58b2-9101-4125-9901-bbcec147f2c6" providerId="ADAL" clId="{6071432F-9294-4EC0-BA55-2246E426275D}" dt="2021-03-22T07:05:59.859" v="2740" actId="1076"/>
          <ac:spMkLst>
            <pc:docMk/>
            <pc:sldMk cId="2122923565" sldId="2146846436"/>
            <ac:spMk id="42" creationId="{3E7A92CD-F27F-4884-AA18-0D7F667CB789}"/>
          </ac:spMkLst>
        </pc:spChg>
        <pc:spChg chg="mod">
          <ac:chgData name="Wipada Chanthaweethip" userId="9b1d58b2-9101-4125-9901-bbcec147f2c6" providerId="ADAL" clId="{6071432F-9294-4EC0-BA55-2246E426275D}" dt="2021-03-22T07:05:59.859" v="2740" actId="1076"/>
          <ac:spMkLst>
            <pc:docMk/>
            <pc:sldMk cId="2122923565" sldId="2146846436"/>
            <ac:spMk id="43" creationId="{5D893EAB-5FF3-4457-AD91-92F0C2AA6FCB}"/>
          </ac:spMkLst>
        </pc:spChg>
        <pc:spChg chg="mod">
          <ac:chgData name="Wipada Chanthaweethip" userId="9b1d58b2-9101-4125-9901-bbcec147f2c6" providerId="ADAL" clId="{6071432F-9294-4EC0-BA55-2246E426275D}" dt="2021-03-22T07:05:59.859" v="2740" actId="1076"/>
          <ac:spMkLst>
            <pc:docMk/>
            <pc:sldMk cId="2122923565" sldId="2146846436"/>
            <ac:spMk id="47" creationId="{85D15AFC-8F42-44E5-860B-D28B879BE866}"/>
          </ac:spMkLst>
        </pc:spChg>
        <pc:spChg chg="mod">
          <ac:chgData name="Wipada Chanthaweethip" userId="9b1d58b2-9101-4125-9901-bbcec147f2c6" providerId="ADAL" clId="{6071432F-9294-4EC0-BA55-2246E426275D}" dt="2021-03-22T07:05:59.859" v="2740" actId="1076"/>
          <ac:spMkLst>
            <pc:docMk/>
            <pc:sldMk cId="2122923565" sldId="2146846436"/>
            <ac:spMk id="64" creationId="{F11E6A76-802C-479D-B4B4-284D15E45CD8}"/>
          </ac:spMkLst>
        </pc:spChg>
        <pc:spChg chg="mod">
          <ac:chgData name="Wipada Chanthaweethip" userId="9b1d58b2-9101-4125-9901-bbcec147f2c6" providerId="ADAL" clId="{6071432F-9294-4EC0-BA55-2246E426275D}" dt="2021-03-22T07:05:59.859" v="2740" actId="1076"/>
          <ac:spMkLst>
            <pc:docMk/>
            <pc:sldMk cId="2122923565" sldId="2146846436"/>
            <ac:spMk id="79" creationId="{4670AB8F-3CA6-4F20-A0EE-328570933631}"/>
          </ac:spMkLst>
        </pc:spChg>
        <pc:spChg chg="mod">
          <ac:chgData name="Wipada Chanthaweethip" userId="9b1d58b2-9101-4125-9901-bbcec147f2c6" providerId="ADAL" clId="{6071432F-9294-4EC0-BA55-2246E426275D}" dt="2021-03-22T07:05:59.859" v="2740" actId="1076"/>
          <ac:spMkLst>
            <pc:docMk/>
            <pc:sldMk cId="2122923565" sldId="2146846436"/>
            <ac:spMk id="80" creationId="{E3F17C9C-3E81-4376-9EB6-C5CCCD053D35}"/>
          </ac:spMkLst>
        </pc:spChg>
        <pc:spChg chg="mod">
          <ac:chgData name="Wipada Chanthaweethip" userId="9b1d58b2-9101-4125-9901-bbcec147f2c6" providerId="ADAL" clId="{6071432F-9294-4EC0-BA55-2246E426275D}" dt="2021-03-22T07:05:59.859" v="2740" actId="1076"/>
          <ac:spMkLst>
            <pc:docMk/>
            <pc:sldMk cId="2122923565" sldId="2146846436"/>
            <ac:spMk id="84" creationId="{DD6D702D-6470-4AB2-A874-F5802831F28A}"/>
          </ac:spMkLst>
        </pc:spChg>
        <pc:spChg chg="mod">
          <ac:chgData name="Wipada Chanthaweethip" userId="9b1d58b2-9101-4125-9901-bbcec147f2c6" providerId="ADAL" clId="{6071432F-9294-4EC0-BA55-2246E426275D}" dt="2021-03-22T07:05:59.859" v="2740" actId="1076"/>
          <ac:spMkLst>
            <pc:docMk/>
            <pc:sldMk cId="2122923565" sldId="2146846436"/>
            <ac:spMk id="91" creationId="{DAA6A19C-FF70-4F38-92EB-26EDF775ADAA}"/>
          </ac:spMkLst>
        </pc:spChg>
        <pc:grpChg chg="mod">
          <ac:chgData name="Wipada Chanthaweethip" userId="9b1d58b2-9101-4125-9901-bbcec147f2c6" providerId="ADAL" clId="{6071432F-9294-4EC0-BA55-2246E426275D}" dt="2021-03-22T07:05:59.859" v="2740" actId="1076"/>
          <ac:grpSpMkLst>
            <pc:docMk/>
            <pc:sldMk cId="2122923565" sldId="2146846436"/>
            <ac:grpSpMk id="18" creationId="{DDF9FEC8-002C-4F30-A816-BC221F3654F5}"/>
          </ac:grpSpMkLst>
        </pc:grpChg>
        <pc:grpChg chg="mod">
          <ac:chgData name="Wipada Chanthaweethip" userId="9b1d58b2-9101-4125-9901-bbcec147f2c6" providerId="ADAL" clId="{6071432F-9294-4EC0-BA55-2246E426275D}" dt="2021-03-22T07:05:59.859" v="2740" actId="1076"/>
          <ac:grpSpMkLst>
            <pc:docMk/>
            <pc:sldMk cId="2122923565" sldId="2146846436"/>
            <ac:grpSpMk id="19" creationId="{0EAE4967-2CCF-483F-A173-7A3940ABFB46}"/>
          </ac:grpSpMkLst>
        </pc:grpChg>
        <pc:grpChg chg="mod">
          <ac:chgData name="Wipada Chanthaweethip" userId="9b1d58b2-9101-4125-9901-bbcec147f2c6" providerId="ADAL" clId="{6071432F-9294-4EC0-BA55-2246E426275D}" dt="2021-03-22T07:05:59.859" v="2740" actId="1076"/>
          <ac:grpSpMkLst>
            <pc:docMk/>
            <pc:sldMk cId="2122923565" sldId="2146846436"/>
            <ac:grpSpMk id="21" creationId="{3B0FC57F-51CF-4EDE-9BE2-4A2C2C27D6A3}"/>
          </ac:grpSpMkLst>
        </pc:grpChg>
        <pc:grpChg chg="mod">
          <ac:chgData name="Wipada Chanthaweethip" userId="9b1d58b2-9101-4125-9901-bbcec147f2c6" providerId="ADAL" clId="{6071432F-9294-4EC0-BA55-2246E426275D}" dt="2021-03-22T07:05:59.859" v="2740" actId="1076"/>
          <ac:grpSpMkLst>
            <pc:docMk/>
            <pc:sldMk cId="2122923565" sldId="2146846436"/>
            <ac:grpSpMk id="24" creationId="{8F711528-F384-4044-A3F6-3393EAA9D243}"/>
          </ac:grpSpMkLst>
        </pc:grpChg>
        <pc:grpChg chg="mod">
          <ac:chgData name="Wipada Chanthaweethip" userId="9b1d58b2-9101-4125-9901-bbcec147f2c6" providerId="ADAL" clId="{6071432F-9294-4EC0-BA55-2246E426275D}" dt="2021-03-22T07:05:59.859" v="2740" actId="1076"/>
          <ac:grpSpMkLst>
            <pc:docMk/>
            <pc:sldMk cId="2122923565" sldId="2146846436"/>
            <ac:grpSpMk id="28" creationId="{DBB95B5A-F36E-4272-BE6C-1DCBA27B4AC2}"/>
          </ac:grpSpMkLst>
        </pc:grpChg>
        <pc:grpChg chg="mod">
          <ac:chgData name="Wipada Chanthaweethip" userId="9b1d58b2-9101-4125-9901-bbcec147f2c6" providerId="ADAL" clId="{6071432F-9294-4EC0-BA55-2246E426275D}" dt="2021-03-22T07:05:59.859" v="2740" actId="1076"/>
          <ac:grpSpMkLst>
            <pc:docMk/>
            <pc:sldMk cId="2122923565" sldId="2146846436"/>
            <ac:grpSpMk id="31" creationId="{5E9BB898-BB6F-44B4-B034-5294FE6C9F0A}"/>
          </ac:grpSpMkLst>
        </pc:grpChg>
        <pc:grpChg chg="mod">
          <ac:chgData name="Wipada Chanthaweethip" userId="9b1d58b2-9101-4125-9901-bbcec147f2c6" providerId="ADAL" clId="{6071432F-9294-4EC0-BA55-2246E426275D}" dt="2021-03-22T07:05:59.859" v="2740" actId="1076"/>
          <ac:grpSpMkLst>
            <pc:docMk/>
            <pc:sldMk cId="2122923565" sldId="2146846436"/>
            <ac:grpSpMk id="35" creationId="{A91A7776-8847-46E5-9F19-4A671B3D6593}"/>
          </ac:grpSpMkLst>
        </pc:grpChg>
        <pc:grpChg chg="mod">
          <ac:chgData name="Wipada Chanthaweethip" userId="9b1d58b2-9101-4125-9901-bbcec147f2c6" providerId="ADAL" clId="{6071432F-9294-4EC0-BA55-2246E426275D}" dt="2021-03-22T07:05:59.859" v="2740" actId="1076"/>
          <ac:grpSpMkLst>
            <pc:docMk/>
            <pc:sldMk cId="2122923565" sldId="2146846436"/>
            <ac:grpSpMk id="38" creationId="{81C6AA82-6D79-430D-83FF-E04600EA1599}"/>
          </ac:grpSpMkLst>
        </pc:grpChg>
        <pc:grpChg chg="mod">
          <ac:chgData name="Wipada Chanthaweethip" userId="9b1d58b2-9101-4125-9901-bbcec147f2c6" providerId="ADAL" clId="{6071432F-9294-4EC0-BA55-2246E426275D}" dt="2021-03-22T07:05:59.859" v="2740" actId="1076"/>
          <ac:grpSpMkLst>
            <pc:docMk/>
            <pc:sldMk cId="2122923565" sldId="2146846436"/>
            <ac:grpSpMk id="65" creationId="{03F96F91-E035-41E5-979E-D825C7A0FB86}"/>
          </ac:grpSpMkLst>
        </pc:grpChg>
        <pc:grpChg chg="mod">
          <ac:chgData name="Wipada Chanthaweethip" userId="9b1d58b2-9101-4125-9901-bbcec147f2c6" providerId="ADAL" clId="{6071432F-9294-4EC0-BA55-2246E426275D}" dt="2021-03-22T07:05:59.859" v="2740" actId="1076"/>
          <ac:grpSpMkLst>
            <pc:docMk/>
            <pc:sldMk cId="2122923565" sldId="2146846436"/>
            <ac:grpSpMk id="69" creationId="{142D1BDC-8BEA-4B06-82D3-F3B8CA93D79D}"/>
          </ac:grpSpMkLst>
        </pc:grpChg>
        <pc:picChg chg="mod">
          <ac:chgData name="Wipada Chanthaweethip" userId="9b1d58b2-9101-4125-9901-bbcec147f2c6" providerId="ADAL" clId="{6071432F-9294-4EC0-BA55-2246E426275D}" dt="2021-03-22T07:05:59.859" v="2740" actId="1076"/>
          <ac:picMkLst>
            <pc:docMk/>
            <pc:sldMk cId="2122923565" sldId="2146846436"/>
            <ac:picMk id="10" creationId="{800E8F11-625E-4026-9784-DCCE11EA8806}"/>
          </ac:picMkLst>
        </pc:picChg>
        <pc:cxnChg chg="mod">
          <ac:chgData name="Wipada Chanthaweethip" userId="9b1d58b2-9101-4125-9901-bbcec147f2c6" providerId="ADAL" clId="{6071432F-9294-4EC0-BA55-2246E426275D}" dt="2021-03-22T07:05:59.859" v="2740" actId="1076"/>
          <ac:cxnSpMkLst>
            <pc:docMk/>
            <pc:sldMk cId="2122923565" sldId="2146846436"/>
            <ac:cxnSpMk id="9" creationId="{CEA1B712-70AE-46B2-B7EB-168EE6B36491}"/>
          </ac:cxnSpMkLst>
        </pc:cxnChg>
        <pc:cxnChg chg="mod">
          <ac:chgData name="Wipada Chanthaweethip" userId="9b1d58b2-9101-4125-9901-bbcec147f2c6" providerId="ADAL" clId="{6071432F-9294-4EC0-BA55-2246E426275D}" dt="2021-03-22T07:05:59.859" v="2740" actId="1076"/>
          <ac:cxnSpMkLst>
            <pc:docMk/>
            <pc:sldMk cId="2122923565" sldId="2146846436"/>
            <ac:cxnSpMk id="45" creationId="{61D77301-58A5-4B31-B8F2-865F6C613615}"/>
          </ac:cxnSpMkLst>
        </pc:cxnChg>
        <pc:cxnChg chg="mod">
          <ac:chgData name="Wipada Chanthaweethip" userId="9b1d58b2-9101-4125-9901-bbcec147f2c6" providerId="ADAL" clId="{6071432F-9294-4EC0-BA55-2246E426275D}" dt="2021-03-22T07:05:59.859" v="2740" actId="1076"/>
          <ac:cxnSpMkLst>
            <pc:docMk/>
            <pc:sldMk cId="2122923565" sldId="2146846436"/>
            <ac:cxnSpMk id="49" creationId="{DA4DF7B0-E1A1-4937-A753-A8B5B46012A3}"/>
          </ac:cxnSpMkLst>
        </pc:cxnChg>
        <pc:cxnChg chg="mod">
          <ac:chgData name="Wipada Chanthaweethip" userId="9b1d58b2-9101-4125-9901-bbcec147f2c6" providerId="ADAL" clId="{6071432F-9294-4EC0-BA55-2246E426275D}" dt="2021-03-22T07:05:59.859" v="2740" actId="1076"/>
          <ac:cxnSpMkLst>
            <pc:docMk/>
            <pc:sldMk cId="2122923565" sldId="2146846436"/>
            <ac:cxnSpMk id="52" creationId="{5ECA21EB-EE6B-49F4-9645-5BF5FCCF589D}"/>
          </ac:cxnSpMkLst>
        </pc:cxnChg>
        <pc:cxnChg chg="mod">
          <ac:chgData name="Wipada Chanthaweethip" userId="9b1d58b2-9101-4125-9901-bbcec147f2c6" providerId="ADAL" clId="{6071432F-9294-4EC0-BA55-2246E426275D}" dt="2021-03-22T07:05:59.859" v="2740" actId="1076"/>
          <ac:cxnSpMkLst>
            <pc:docMk/>
            <pc:sldMk cId="2122923565" sldId="2146846436"/>
            <ac:cxnSpMk id="55" creationId="{0A609DCC-8463-4AA1-B8C5-FA79BA575184}"/>
          </ac:cxnSpMkLst>
        </pc:cxnChg>
        <pc:cxnChg chg="mod">
          <ac:chgData name="Wipada Chanthaweethip" userId="9b1d58b2-9101-4125-9901-bbcec147f2c6" providerId="ADAL" clId="{6071432F-9294-4EC0-BA55-2246E426275D}" dt="2021-03-22T07:05:59.859" v="2740" actId="1076"/>
          <ac:cxnSpMkLst>
            <pc:docMk/>
            <pc:sldMk cId="2122923565" sldId="2146846436"/>
            <ac:cxnSpMk id="59" creationId="{61A59EF7-9270-40B2-9711-47110DA60AD0}"/>
          </ac:cxnSpMkLst>
        </pc:cxnChg>
        <pc:cxnChg chg="mod">
          <ac:chgData name="Wipada Chanthaweethip" userId="9b1d58b2-9101-4125-9901-bbcec147f2c6" providerId="ADAL" clId="{6071432F-9294-4EC0-BA55-2246E426275D}" dt="2021-03-22T07:05:59.859" v="2740" actId="1076"/>
          <ac:cxnSpMkLst>
            <pc:docMk/>
            <pc:sldMk cId="2122923565" sldId="2146846436"/>
            <ac:cxnSpMk id="60" creationId="{C9F9343B-52DB-4706-99C3-F876C2DB2F45}"/>
          </ac:cxnSpMkLst>
        </pc:cxnChg>
        <pc:cxnChg chg="mod">
          <ac:chgData name="Wipada Chanthaweethip" userId="9b1d58b2-9101-4125-9901-bbcec147f2c6" providerId="ADAL" clId="{6071432F-9294-4EC0-BA55-2246E426275D}" dt="2021-03-22T07:05:59.859" v="2740" actId="1076"/>
          <ac:cxnSpMkLst>
            <pc:docMk/>
            <pc:sldMk cId="2122923565" sldId="2146846436"/>
            <ac:cxnSpMk id="61" creationId="{A4EE2265-2F7E-4005-90C9-F35B5380F7FF}"/>
          </ac:cxnSpMkLst>
        </pc:cxnChg>
        <pc:cxnChg chg="mod">
          <ac:chgData name="Wipada Chanthaweethip" userId="9b1d58b2-9101-4125-9901-bbcec147f2c6" providerId="ADAL" clId="{6071432F-9294-4EC0-BA55-2246E426275D}" dt="2021-03-22T07:05:59.859" v="2740" actId="1076"/>
          <ac:cxnSpMkLst>
            <pc:docMk/>
            <pc:sldMk cId="2122923565" sldId="2146846436"/>
            <ac:cxnSpMk id="62" creationId="{3E2A4D85-B4AF-4143-AC66-31393C647C6E}"/>
          </ac:cxnSpMkLst>
        </pc:cxnChg>
        <pc:cxnChg chg="mod">
          <ac:chgData name="Wipada Chanthaweethip" userId="9b1d58b2-9101-4125-9901-bbcec147f2c6" providerId="ADAL" clId="{6071432F-9294-4EC0-BA55-2246E426275D}" dt="2021-03-22T07:05:59.859" v="2740" actId="1076"/>
          <ac:cxnSpMkLst>
            <pc:docMk/>
            <pc:sldMk cId="2122923565" sldId="2146846436"/>
            <ac:cxnSpMk id="63" creationId="{F17DCC48-4A69-4F87-B2A8-5ACF43E72BA3}"/>
          </ac:cxnSpMkLst>
        </pc:cxnChg>
        <pc:cxnChg chg="mod">
          <ac:chgData name="Wipada Chanthaweethip" userId="9b1d58b2-9101-4125-9901-bbcec147f2c6" providerId="ADAL" clId="{6071432F-9294-4EC0-BA55-2246E426275D}" dt="2021-03-22T07:05:59.859" v="2740" actId="1076"/>
          <ac:cxnSpMkLst>
            <pc:docMk/>
            <pc:sldMk cId="2122923565" sldId="2146846436"/>
            <ac:cxnSpMk id="68" creationId="{DE6AFA72-5D1D-46BD-ACC7-B1EC58B91459}"/>
          </ac:cxnSpMkLst>
        </pc:cxnChg>
        <pc:cxnChg chg="mod">
          <ac:chgData name="Wipada Chanthaweethip" userId="9b1d58b2-9101-4125-9901-bbcec147f2c6" providerId="ADAL" clId="{6071432F-9294-4EC0-BA55-2246E426275D}" dt="2021-03-22T07:05:59.859" v="2740" actId="1076"/>
          <ac:cxnSpMkLst>
            <pc:docMk/>
            <pc:sldMk cId="2122923565" sldId="2146846436"/>
            <ac:cxnSpMk id="71" creationId="{FED8305D-75E8-4312-8943-79D8190A767E}"/>
          </ac:cxnSpMkLst>
        </pc:cxnChg>
        <pc:cxnChg chg="mod">
          <ac:chgData name="Wipada Chanthaweethip" userId="9b1d58b2-9101-4125-9901-bbcec147f2c6" providerId="ADAL" clId="{6071432F-9294-4EC0-BA55-2246E426275D}" dt="2021-03-22T07:05:59.859" v="2740" actId="1076"/>
          <ac:cxnSpMkLst>
            <pc:docMk/>
            <pc:sldMk cId="2122923565" sldId="2146846436"/>
            <ac:cxnSpMk id="73" creationId="{5E4D716D-AC09-4D30-A542-DA7AC016BAE2}"/>
          </ac:cxnSpMkLst>
        </pc:cxnChg>
        <pc:cxnChg chg="mod">
          <ac:chgData name="Wipada Chanthaweethip" userId="9b1d58b2-9101-4125-9901-bbcec147f2c6" providerId="ADAL" clId="{6071432F-9294-4EC0-BA55-2246E426275D}" dt="2021-03-22T07:05:59.859" v="2740" actId="1076"/>
          <ac:cxnSpMkLst>
            <pc:docMk/>
            <pc:sldMk cId="2122923565" sldId="2146846436"/>
            <ac:cxnSpMk id="75" creationId="{AA7FC389-3492-4200-BAE7-B339EFED3E8D}"/>
          </ac:cxnSpMkLst>
        </pc:cxnChg>
        <pc:cxnChg chg="mod">
          <ac:chgData name="Wipada Chanthaweethip" userId="9b1d58b2-9101-4125-9901-bbcec147f2c6" providerId="ADAL" clId="{6071432F-9294-4EC0-BA55-2246E426275D}" dt="2021-03-22T07:05:59.859" v="2740" actId="1076"/>
          <ac:cxnSpMkLst>
            <pc:docMk/>
            <pc:sldMk cId="2122923565" sldId="2146846436"/>
            <ac:cxnSpMk id="81" creationId="{911395F3-7442-468B-A5FB-CD4765707B03}"/>
          </ac:cxnSpMkLst>
        </pc:cxnChg>
        <pc:cxnChg chg="mod">
          <ac:chgData name="Wipada Chanthaweethip" userId="9b1d58b2-9101-4125-9901-bbcec147f2c6" providerId="ADAL" clId="{6071432F-9294-4EC0-BA55-2246E426275D}" dt="2021-03-22T07:05:59.859" v="2740" actId="1076"/>
          <ac:cxnSpMkLst>
            <pc:docMk/>
            <pc:sldMk cId="2122923565" sldId="2146846436"/>
            <ac:cxnSpMk id="85" creationId="{C987A8E2-73EB-4846-8781-401332F19AB4}"/>
          </ac:cxnSpMkLst>
        </pc:cxnChg>
      </pc:sldChg>
    </pc:docChg>
  </pc:docChgLst>
  <pc:docChgLst>
    <pc:chgData name="Kyle Akepanidtaworn" userId="4250081e-2882-4185-9e9c-d3298cc00d78" providerId="ADAL" clId="{E3BEE011-BDE0-4924-857F-571F4CEA325A}"/>
    <pc:docChg chg="undo custSel addSld delSld modSld sldOrd">
      <pc:chgData name="Kyle Akepanidtaworn" userId="4250081e-2882-4185-9e9c-d3298cc00d78" providerId="ADAL" clId="{E3BEE011-BDE0-4924-857F-571F4CEA325A}" dt="2021-03-25T07:18:16.050" v="2329" actId="20577"/>
      <pc:docMkLst>
        <pc:docMk/>
      </pc:docMkLst>
      <pc:sldChg chg="addSp modSp add mod">
        <pc:chgData name="Kyle Akepanidtaworn" userId="4250081e-2882-4185-9e9c-d3298cc00d78" providerId="ADAL" clId="{E3BEE011-BDE0-4924-857F-571F4CEA325A}" dt="2021-03-17T02:52:06.873" v="1023" actId="20577"/>
        <pc:sldMkLst>
          <pc:docMk/>
          <pc:sldMk cId="2751210333" sldId="560"/>
        </pc:sldMkLst>
        <pc:spChg chg="mod">
          <ac:chgData name="Kyle Akepanidtaworn" userId="4250081e-2882-4185-9e9c-d3298cc00d78" providerId="ADAL" clId="{E3BEE011-BDE0-4924-857F-571F4CEA325A}" dt="2021-03-11T07:15:09.498" v="183" actId="1076"/>
          <ac:spMkLst>
            <pc:docMk/>
            <pc:sldMk cId="2751210333" sldId="560"/>
            <ac:spMk id="2" creationId="{9F124A9A-D23B-4E41-B6F5-03A6059C9C2E}"/>
          </ac:spMkLst>
        </pc:spChg>
        <pc:spChg chg="mod">
          <ac:chgData name="Kyle Akepanidtaworn" userId="4250081e-2882-4185-9e9c-d3298cc00d78" providerId="ADAL" clId="{E3BEE011-BDE0-4924-857F-571F4CEA325A}" dt="2021-03-17T02:51:48.190" v="1010" actId="14100"/>
          <ac:spMkLst>
            <pc:docMk/>
            <pc:sldMk cId="2751210333" sldId="560"/>
            <ac:spMk id="3" creationId="{D2F36323-D3A2-48ED-83F2-6B716D372173}"/>
          </ac:spMkLst>
        </pc:spChg>
        <pc:spChg chg="mod">
          <ac:chgData name="Kyle Akepanidtaworn" userId="4250081e-2882-4185-9e9c-d3298cc00d78" providerId="ADAL" clId="{E3BEE011-BDE0-4924-857F-571F4CEA325A}" dt="2021-03-17T02:51:48.190" v="1010" actId="14100"/>
          <ac:spMkLst>
            <pc:docMk/>
            <pc:sldMk cId="2751210333" sldId="560"/>
            <ac:spMk id="4" creationId="{0A482F3C-61BA-447A-A174-87818C0C2A60}"/>
          </ac:spMkLst>
        </pc:spChg>
        <pc:spChg chg="add mod">
          <ac:chgData name="Kyle Akepanidtaworn" userId="4250081e-2882-4185-9e9c-d3298cc00d78" providerId="ADAL" clId="{E3BEE011-BDE0-4924-857F-571F4CEA325A}" dt="2021-03-17T02:52:06.873" v="1023" actId="20577"/>
          <ac:spMkLst>
            <pc:docMk/>
            <pc:sldMk cId="2751210333" sldId="560"/>
            <ac:spMk id="5" creationId="{119B14E1-A379-4E0F-A141-8EE06B4EAE67}"/>
          </ac:spMkLst>
        </pc:spChg>
        <pc:spChg chg="mod">
          <ac:chgData name="Kyle Akepanidtaworn" userId="4250081e-2882-4185-9e9c-d3298cc00d78" providerId="ADAL" clId="{E3BEE011-BDE0-4924-857F-571F4CEA325A}" dt="2021-03-17T02:51:48.190" v="1010" actId="14100"/>
          <ac:spMkLst>
            <pc:docMk/>
            <pc:sldMk cId="2751210333" sldId="560"/>
            <ac:spMk id="7" creationId="{866BF498-A9E2-4B6E-8A76-F474D3278B40}"/>
          </ac:spMkLst>
        </pc:spChg>
        <pc:spChg chg="mod">
          <ac:chgData name="Kyle Akepanidtaworn" userId="4250081e-2882-4185-9e9c-d3298cc00d78" providerId="ADAL" clId="{E3BEE011-BDE0-4924-857F-571F4CEA325A}" dt="2021-03-17T02:51:48.190" v="1010" actId="14100"/>
          <ac:spMkLst>
            <pc:docMk/>
            <pc:sldMk cId="2751210333" sldId="560"/>
            <ac:spMk id="8" creationId="{3C5824F9-FCAA-4124-A9A5-793FED4F0B20}"/>
          </ac:spMkLst>
        </pc:spChg>
        <pc:spChg chg="mod">
          <ac:chgData name="Kyle Akepanidtaworn" userId="4250081e-2882-4185-9e9c-d3298cc00d78" providerId="ADAL" clId="{E3BEE011-BDE0-4924-857F-571F4CEA325A}" dt="2021-03-17T02:51:48.190" v="1010" actId="14100"/>
          <ac:spMkLst>
            <pc:docMk/>
            <pc:sldMk cId="2751210333" sldId="560"/>
            <ac:spMk id="37" creationId="{FDEEBD1B-969A-4488-B4E5-A312D9027D45}"/>
          </ac:spMkLst>
        </pc:spChg>
        <pc:spChg chg="mod">
          <ac:chgData name="Kyle Akepanidtaworn" userId="4250081e-2882-4185-9e9c-d3298cc00d78" providerId="ADAL" clId="{E3BEE011-BDE0-4924-857F-571F4CEA325A}" dt="2021-03-17T02:51:48.190" v="1010" actId="14100"/>
          <ac:spMkLst>
            <pc:docMk/>
            <pc:sldMk cId="2751210333" sldId="560"/>
            <ac:spMk id="38" creationId="{B3B1CD52-F5F3-4278-ACF6-00EDFDE86A26}"/>
          </ac:spMkLst>
        </pc:spChg>
        <pc:spChg chg="mod">
          <ac:chgData name="Kyle Akepanidtaworn" userId="4250081e-2882-4185-9e9c-d3298cc00d78" providerId="ADAL" clId="{E3BEE011-BDE0-4924-857F-571F4CEA325A}" dt="2021-03-17T02:51:48.190" v="1010" actId="14100"/>
          <ac:spMkLst>
            <pc:docMk/>
            <pc:sldMk cId="2751210333" sldId="560"/>
            <ac:spMk id="39" creationId="{A3ACB0B7-974A-4C40-B534-8059F3BA51C2}"/>
          </ac:spMkLst>
        </pc:spChg>
        <pc:spChg chg="mod">
          <ac:chgData name="Kyle Akepanidtaworn" userId="4250081e-2882-4185-9e9c-d3298cc00d78" providerId="ADAL" clId="{E3BEE011-BDE0-4924-857F-571F4CEA325A}" dt="2021-03-17T02:51:48.190" v="1010" actId="14100"/>
          <ac:spMkLst>
            <pc:docMk/>
            <pc:sldMk cId="2751210333" sldId="560"/>
            <ac:spMk id="47" creationId="{C738D220-6AD9-4BC5-B28B-22EC05FC0156}"/>
          </ac:spMkLst>
        </pc:spChg>
        <pc:spChg chg="mod">
          <ac:chgData name="Kyle Akepanidtaworn" userId="4250081e-2882-4185-9e9c-d3298cc00d78" providerId="ADAL" clId="{E3BEE011-BDE0-4924-857F-571F4CEA325A}" dt="2021-03-17T02:51:48.190" v="1010" actId="14100"/>
          <ac:spMkLst>
            <pc:docMk/>
            <pc:sldMk cId="2751210333" sldId="560"/>
            <ac:spMk id="49" creationId="{71C74340-CC5B-4E4A-AF45-7976E1F502E7}"/>
          </ac:spMkLst>
        </pc:spChg>
        <pc:spChg chg="mod">
          <ac:chgData name="Kyle Akepanidtaworn" userId="4250081e-2882-4185-9e9c-d3298cc00d78" providerId="ADAL" clId="{E3BEE011-BDE0-4924-857F-571F4CEA325A}" dt="2021-03-17T02:51:48.190" v="1010" actId="14100"/>
          <ac:spMkLst>
            <pc:docMk/>
            <pc:sldMk cId="2751210333" sldId="560"/>
            <ac:spMk id="52" creationId="{40623BE2-7827-4D77-8BC0-E1222AF0A417}"/>
          </ac:spMkLst>
        </pc:spChg>
        <pc:spChg chg="mod">
          <ac:chgData name="Kyle Akepanidtaworn" userId="4250081e-2882-4185-9e9c-d3298cc00d78" providerId="ADAL" clId="{E3BEE011-BDE0-4924-857F-571F4CEA325A}" dt="2021-03-17T02:51:48.190" v="1010" actId="14100"/>
          <ac:spMkLst>
            <pc:docMk/>
            <pc:sldMk cId="2751210333" sldId="560"/>
            <ac:spMk id="53" creationId="{DED02ED4-3814-4218-B700-9D58C2876F6C}"/>
          </ac:spMkLst>
        </pc:spChg>
        <pc:spChg chg="mod">
          <ac:chgData name="Kyle Akepanidtaworn" userId="4250081e-2882-4185-9e9c-d3298cc00d78" providerId="ADAL" clId="{E3BEE011-BDE0-4924-857F-571F4CEA325A}" dt="2021-03-17T02:51:48.190" v="1010" actId="14100"/>
          <ac:spMkLst>
            <pc:docMk/>
            <pc:sldMk cId="2751210333" sldId="560"/>
            <ac:spMk id="64" creationId="{83B3C9BF-B608-4329-B8C1-89D81908AA35}"/>
          </ac:spMkLst>
        </pc:spChg>
        <pc:spChg chg="mod">
          <ac:chgData name="Kyle Akepanidtaworn" userId="4250081e-2882-4185-9e9c-d3298cc00d78" providerId="ADAL" clId="{E3BEE011-BDE0-4924-857F-571F4CEA325A}" dt="2021-03-17T02:51:48.190" v="1010" actId="14100"/>
          <ac:spMkLst>
            <pc:docMk/>
            <pc:sldMk cId="2751210333" sldId="560"/>
            <ac:spMk id="67" creationId="{1D19468F-3F94-4569-9414-D803D87DEC93}"/>
          </ac:spMkLst>
        </pc:spChg>
        <pc:spChg chg="mod">
          <ac:chgData name="Kyle Akepanidtaworn" userId="4250081e-2882-4185-9e9c-d3298cc00d78" providerId="ADAL" clId="{E3BEE011-BDE0-4924-857F-571F4CEA325A}" dt="2021-03-17T02:51:48.190" v="1010" actId="14100"/>
          <ac:spMkLst>
            <pc:docMk/>
            <pc:sldMk cId="2751210333" sldId="560"/>
            <ac:spMk id="73" creationId="{2EDE07E7-A883-43B3-B1FA-220FCF9DA58E}"/>
          </ac:spMkLst>
        </pc:spChg>
        <pc:spChg chg="mod">
          <ac:chgData name="Kyle Akepanidtaworn" userId="4250081e-2882-4185-9e9c-d3298cc00d78" providerId="ADAL" clId="{E3BEE011-BDE0-4924-857F-571F4CEA325A}" dt="2021-03-17T02:51:48.190" v="1010" actId="14100"/>
          <ac:spMkLst>
            <pc:docMk/>
            <pc:sldMk cId="2751210333" sldId="560"/>
            <ac:spMk id="74" creationId="{B7B68BC9-9085-431C-8AB3-4B7A9FE30D7A}"/>
          </ac:spMkLst>
        </pc:spChg>
        <pc:spChg chg="mod">
          <ac:chgData name="Kyle Akepanidtaworn" userId="4250081e-2882-4185-9e9c-d3298cc00d78" providerId="ADAL" clId="{E3BEE011-BDE0-4924-857F-571F4CEA325A}" dt="2021-03-17T02:51:48.190" v="1010" actId="14100"/>
          <ac:spMkLst>
            <pc:docMk/>
            <pc:sldMk cId="2751210333" sldId="560"/>
            <ac:spMk id="78" creationId="{D47CC1CC-4BD2-4E47-94BD-5903D249D43B}"/>
          </ac:spMkLst>
        </pc:spChg>
        <pc:spChg chg="mod">
          <ac:chgData name="Kyle Akepanidtaworn" userId="4250081e-2882-4185-9e9c-d3298cc00d78" providerId="ADAL" clId="{E3BEE011-BDE0-4924-857F-571F4CEA325A}" dt="2021-03-17T02:51:48.190" v="1010" actId="14100"/>
          <ac:spMkLst>
            <pc:docMk/>
            <pc:sldMk cId="2751210333" sldId="560"/>
            <ac:spMk id="80" creationId="{1848C1AF-765A-4868-B337-AC9E2F49C494}"/>
          </ac:spMkLst>
        </pc:spChg>
        <pc:spChg chg="mod">
          <ac:chgData name="Kyle Akepanidtaworn" userId="4250081e-2882-4185-9e9c-d3298cc00d78" providerId="ADAL" clId="{E3BEE011-BDE0-4924-857F-571F4CEA325A}" dt="2021-03-17T02:51:48.190" v="1010" actId="14100"/>
          <ac:spMkLst>
            <pc:docMk/>
            <pc:sldMk cId="2751210333" sldId="560"/>
            <ac:spMk id="82" creationId="{0BB69D39-5954-4376-A315-1C2DD13E0ABF}"/>
          </ac:spMkLst>
        </pc:spChg>
        <pc:spChg chg="mod">
          <ac:chgData name="Kyle Akepanidtaworn" userId="4250081e-2882-4185-9e9c-d3298cc00d78" providerId="ADAL" clId="{E3BEE011-BDE0-4924-857F-571F4CEA325A}" dt="2021-03-17T02:51:48.190" v="1010" actId="14100"/>
          <ac:spMkLst>
            <pc:docMk/>
            <pc:sldMk cId="2751210333" sldId="560"/>
            <ac:spMk id="84" creationId="{D43F2EFC-E98E-4A30-8CE4-5CE2ED3A118E}"/>
          </ac:spMkLst>
        </pc:spChg>
        <pc:spChg chg="mod">
          <ac:chgData name="Kyle Akepanidtaworn" userId="4250081e-2882-4185-9e9c-d3298cc00d78" providerId="ADAL" clId="{E3BEE011-BDE0-4924-857F-571F4CEA325A}" dt="2021-03-17T02:51:48.190" v="1010" actId="14100"/>
          <ac:spMkLst>
            <pc:docMk/>
            <pc:sldMk cId="2751210333" sldId="560"/>
            <ac:spMk id="85" creationId="{36882754-5085-43C4-B75E-8168A26263DC}"/>
          </ac:spMkLst>
        </pc:spChg>
        <pc:spChg chg="mod">
          <ac:chgData name="Kyle Akepanidtaworn" userId="4250081e-2882-4185-9e9c-d3298cc00d78" providerId="ADAL" clId="{E3BEE011-BDE0-4924-857F-571F4CEA325A}" dt="2021-03-17T02:51:48.190" v="1010" actId="14100"/>
          <ac:spMkLst>
            <pc:docMk/>
            <pc:sldMk cId="2751210333" sldId="560"/>
            <ac:spMk id="87" creationId="{0660136D-F376-49A3-9E41-147A6447AC0F}"/>
          </ac:spMkLst>
        </pc:spChg>
        <pc:spChg chg="mod">
          <ac:chgData name="Kyle Akepanidtaworn" userId="4250081e-2882-4185-9e9c-d3298cc00d78" providerId="ADAL" clId="{E3BEE011-BDE0-4924-857F-571F4CEA325A}" dt="2021-03-17T02:51:48.190" v="1010" actId="14100"/>
          <ac:spMkLst>
            <pc:docMk/>
            <pc:sldMk cId="2751210333" sldId="560"/>
            <ac:spMk id="89" creationId="{C692ABC3-746C-4A79-B5E8-03DB1CBD0A07}"/>
          </ac:spMkLst>
        </pc:spChg>
        <pc:spChg chg="mod">
          <ac:chgData name="Kyle Akepanidtaworn" userId="4250081e-2882-4185-9e9c-d3298cc00d78" providerId="ADAL" clId="{E3BEE011-BDE0-4924-857F-571F4CEA325A}" dt="2021-03-17T02:51:48.190" v="1010" actId="14100"/>
          <ac:spMkLst>
            <pc:docMk/>
            <pc:sldMk cId="2751210333" sldId="560"/>
            <ac:spMk id="90" creationId="{AC9BC16D-63B5-4541-A521-29440527C8C2}"/>
          </ac:spMkLst>
        </pc:spChg>
        <pc:spChg chg="mod">
          <ac:chgData name="Kyle Akepanidtaworn" userId="4250081e-2882-4185-9e9c-d3298cc00d78" providerId="ADAL" clId="{E3BEE011-BDE0-4924-857F-571F4CEA325A}" dt="2021-03-17T02:51:48.190" v="1010" actId="14100"/>
          <ac:spMkLst>
            <pc:docMk/>
            <pc:sldMk cId="2751210333" sldId="560"/>
            <ac:spMk id="91" creationId="{38B0C4B2-E713-4EDD-A27B-8B53432A455B}"/>
          </ac:spMkLst>
        </pc:spChg>
        <pc:spChg chg="mod">
          <ac:chgData name="Kyle Akepanidtaworn" userId="4250081e-2882-4185-9e9c-d3298cc00d78" providerId="ADAL" clId="{E3BEE011-BDE0-4924-857F-571F4CEA325A}" dt="2021-03-17T02:51:48.190" v="1010" actId="14100"/>
          <ac:spMkLst>
            <pc:docMk/>
            <pc:sldMk cId="2751210333" sldId="560"/>
            <ac:spMk id="94" creationId="{50756DAB-AAC2-4690-8682-DCF1484F6B90}"/>
          </ac:spMkLst>
        </pc:spChg>
        <pc:spChg chg="mod">
          <ac:chgData name="Kyle Akepanidtaworn" userId="4250081e-2882-4185-9e9c-d3298cc00d78" providerId="ADAL" clId="{E3BEE011-BDE0-4924-857F-571F4CEA325A}" dt="2021-03-17T02:51:48.190" v="1010" actId="14100"/>
          <ac:spMkLst>
            <pc:docMk/>
            <pc:sldMk cId="2751210333" sldId="560"/>
            <ac:spMk id="95" creationId="{44F35CAF-E67A-4341-A92E-C981B8946B87}"/>
          </ac:spMkLst>
        </pc:spChg>
        <pc:spChg chg="mod">
          <ac:chgData name="Kyle Akepanidtaworn" userId="4250081e-2882-4185-9e9c-d3298cc00d78" providerId="ADAL" clId="{E3BEE011-BDE0-4924-857F-571F4CEA325A}" dt="2021-03-17T02:51:48.190" v="1010" actId="14100"/>
          <ac:spMkLst>
            <pc:docMk/>
            <pc:sldMk cId="2751210333" sldId="560"/>
            <ac:spMk id="96" creationId="{2F500D36-E2F1-426C-83CC-81CBF62AE103}"/>
          </ac:spMkLst>
        </pc:spChg>
        <pc:spChg chg="mod">
          <ac:chgData name="Kyle Akepanidtaworn" userId="4250081e-2882-4185-9e9c-d3298cc00d78" providerId="ADAL" clId="{E3BEE011-BDE0-4924-857F-571F4CEA325A}" dt="2021-03-17T02:51:48.190" v="1010" actId="14100"/>
          <ac:spMkLst>
            <pc:docMk/>
            <pc:sldMk cId="2751210333" sldId="560"/>
            <ac:spMk id="97" creationId="{2DD626FE-3025-4EFB-BCD3-678394F6747E}"/>
          </ac:spMkLst>
        </pc:spChg>
        <pc:spChg chg="mod">
          <ac:chgData name="Kyle Akepanidtaworn" userId="4250081e-2882-4185-9e9c-d3298cc00d78" providerId="ADAL" clId="{E3BEE011-BDE0-4924-857F-571F4CEA325A}" dt="2021-03-17T02:51:48.190" v="1010" actId="14100"/>
          <ac:spMkLst>
            <pc:docMk/>
            <pc:sldMk cId="2751210333" sldId="560"/>
            <ac:spMk id="98" creationId="{949EAEBE-15D5-4711-8B63-B0756BC46DDA}"/>
          </ac:spMkLst>
        </pc:spChg>
        <pc:spChg chg="mod">
          <ac:chgData name="Kyle Akepanidtaworn" userId="4250081e-2882-4185-9e9c-d3298cc00d78" providerId="ADAL" clId="{E3BEE011-BDE0-4924-857F-571F4CEA325A}" dt="2021-03-17T02:51:48.190" v="1010" actId="14100"/>
          <ac:spMkLst>
            <pc:docMk/>
            <pc:sldMk cId="2751210333" sldId="560"/>
            <ac:spMk id="99" creationId="{C0501371-8196-4270-8753-E827818F8819}"/>
          </ac:spMkLst>
        </pc:spChg>
        <pc:spChg chg="mod">
          <ac:chgData name="Kyle Akepanidtaworn" userId="4250081e-2882-4185-9e9c-d3298cc00d78" providerId="ADAL" clId="{E3BEE011-BDE0-4924-857F-571F4CEA325A}" dt="2021-03-17T02:51:48.190" v="1010" actId="14100"/>
          <ac:spMkLst>
            <pc:docMk/>
            <pc:sldMk cId="2751210333" sldId="560"/>
            <ac:spMk id="100" creationId="{BEC91AE4-DA6A-4F85-A10B-74781ED3AD26}"/>
          </ac:spMkLst>
        </pc:spChg>
        <pc:spChg chg="mod">
          <ac:chgData name="Kyle Akepanidtaworn" userId="4250081e-2882-4185-9e9c-d3298cc00d78" providerId="ADAL" clId="{E3BEE011-BDE0-4924-857F-571F4CEA325A}" dt="2021-03-17T02:51:48.190" v="1010" actId="14100"/>
          <ac:spMkLst>
            <pc:docMk/>
            <pc:sldMk cId="2751210333" sldId="560"/>
            <ac:spMk id="101" creationId="{5CA5AEF6-BED1-4E49-BF2F-023DB250134C}"/>
          </ac:spMkLst>
        </pc:spChg>
        <pc:spChg chg="mod">
          <ac:chgData name="Kyle Akepanidtaworn" userId="4250081e-2882-4185-9e9c-d3298cc00d78" providerId="ADAL" clId="{E3BEE011-BDE0-4924-857F-571F4CEA325A}" dt="2021-03-17T02:51:48.190" v="1010" actId="14100"/>
          <ac:spMkLst>
            <pc:docMk/>
            <pc:sldMk cId="2751210333" sldId="560"/>
            <ac:spMk id="102" creationId="{F7F957C5-821F-4972-AB14-FDA0065762DB}"/>
          </ac:spMkLst>
        </pc:spChg>
        <pc:spChg chg="mod">
          <ac:chgData name="Kyle Akepanidtaworn" userId="4250081e-2882-4185-9e9c-d3298cc00d78" providerId="ADAL" clId="{E3BEE011-BDE0-4924-857F-571F4CEA325A}" dt="2021-03-17T02:51:48.190" v="1010" actId="14100"/>
          <ac:spMkLst>
            <pc:docMk/>
            <pc:sldMk cId="2751210333" sldId="560"/>
            <ac:spMk id="103" creationId="{AF307EF5-1BA0-43E8-AB23-2100EC0AA924}"/>
          </ac:spMkLst>
        </pc:spChg>
        <pc:spChg chg="mod">
          <ac:chgData name="Kyle Akepanidtaworn" userId="4250081e-2882-4185-9e9c-d3298cc00d78" providerId="ADAL" clId="{E3BEE011-BDE0-4924-857F-571F4CEA325A}" dt="2021-03-17T02:51:48.190" v="1010" actId="14100"/>
          <ac:spMkLst>
            <pc:docMk/>
            <pc:sldMk cId="2751210333" sldId="560"/>
            <ac:spMk id="104" creationId="{A179D4D0-911B-4083-9E0F-DFEDC2E7D7A4}"/>
          </ac:spMkLst>
        </pc:spChg>
        <pc:spChg chg="mod">
          <ac:chgData name="Kyle Akepanidtaworn" userId="4250081e-2882-4185-9e9c-d3298cc00d78" providerId="ADAL" clId="{E3BEE011-BDE0-4924-857F-571F4CEA325A}" dt="2021-03-17T02:51:48.190" v="1010" actId="14100"/>
          <ac:spMkLst>
            <pc:docMk/>
            <pc:sldMk cId="2751210333" sldId="560"/>
            <ac:spMk id="105" creationId="{5ED4BAD4-2C8F-482E-865F-320F10352458}"/>
          </ac:spMkLst>
        </pc:spChg>
        <pc:spChg chg="mod">
          <ac:chgData name="Kyle Akepanidtaworn" userId="4250081e-2882-4185-9e9c-d3298cc00d78" providerId="ADAL" clId="{E3BEE011-BDE0-4924-857F-571F4CEA325A}" dt="2021-03-17T02:51:48.190" v="1010" actId="14100"/>
          <ac:spMkLst>
            <pc:docMk/>
            <pc:sldMk cId="2751210333" sldId="560"/>
            <ac:spMk id="106" creationId="{96D4D3E1-DD97-4BA7-BBE2-BC943A259E1E}"/>
          </ac:spMkLst>
        </pc:spChg>
        <pc:spChg chg="mod">
          <ac:chgData name="Kyle Akepanidtaworn" userId="4250081e-2882-4185-9e9c-d3298cc00d78" providerId="ADAL" clId="{E3BEE011-BDE0-4924-857F-571F4CEA325A}" dt="2021-03-17T02:51:48.190" v="1010" actId="14100"/>
          <ac:spMkLst>
            <pc:docMk/>
            <pc:sldMk cId="2751210333" sldId="560"/>
            <ac:spMk id="107" creationId="{6A40116D-F6FA-45A0-AF81-88B3476D7C86}"/>
          </ac:spMkLst>
        </pc:spChg>
        <pc:spChg chg="mod">
          <ac:chgData name="Kyle Akepanidtaworn" userId="4250081e-2882-4185-9e9c-d3298cc00d78" providerId="ADAL" clId="{E3BEE011-BDE0-4924-857F-571F4CEA325A}" dt="2021-03-17T02:51:48.190" v="1010" actId="14100"/>
          <ac:spMkLst>
            <pc:docMk/>
            <pc:sldMk cId="2751210333" sldId="560"/>
            <ac:spMk id="108" creationId="{09F68483-A429-4820-8682-19840BA69CB1}"/>
          </ac:spMkLst>
        </pc:spChg>
        <pc:spChg chg="mod">
          <ac:chgData name="Kyle Akepanidtaworn" userId="4250081e-2882-4185-9e9c-d3298cc00d78" providerId="ADAL" clId="{E3BEE011-BDE0-4924-857F-571F4CEA325A}" dt="2021-03-17T02:51:48.190" v="1010" actId="14100"/>
          <ac:spMkLst>
            <pc:docMk/>
            <pc:sldMk cId="2751210333" sldId="560"/>
            <ac:spMk id="109" creationId="{04847705-350C-4483-BCE4-ACEA9809D41A}"/>
          </ac:spMkLst>
        </pc:spChg>
        <pc:spChg chg="mod">
          <ac:chgData name="Kyle Akepanidtaworn" userId="4250081e-2882-4185-9e9c-d3298cc00d78" providerId="ADAL" clId="{E3BEE011-BDE0-4924-857F-571F4CEA325A}" dt="2021-03-17T02:51:48.190" v="1010" actId="14100"/>
          <ac:spMkLst>
            <pc:docMk/>
            <pc:sldMk cId="2751210333" sldId="560"/>
            <ac:spMk id="110" creationId="{71A5F56A-79E9-422C-B26A-BD62F2F00C13}"/>
          </ac:spMkLst>
        </pc:spChg>
        <pc:spChg chg="mod">
          <ac:chgData name="Kyle Akepanidtaworn" userId="4250081e-2882-4185-9e9c-d3298cc00d78" providerId="ADAL" clId="{E3BEE011-BDE0-4924-857F-571F4CEA325A}" dt="2021-03-17T02:51:48.190" v="1010" actId="14100"/>
          <ac:spMkLst>
            <pc:docMk/>
            <pc:sldMk cId="2751210333" sldId="560"/>
            <ac:spMk id="111" creationId="{8DF9A9F9-42DA-4C37-9F99-2FEA71210ACD}"/>
          </ac:spMkLst>
        </pc:spChg>
        <pc:spChg chg="mod">
          <ac:chgData name="Kyle Akepanidtaworn" userId="4250081e-2882-4185-9e9c-d3298cc00d78" providerId="ADAL" clId="{E3BEE011-BDE0-4924-857F-571F4CEA325A}" dt="2021-03-17T02:51:48.190" v="1010" actId="14100"/>
          <ac:spMkLst>
            <pc:docMk/>
            <pc:sldMk cId="2751210333" sldId="560"/>
            <ac:spMk id="112" creationId="{D9BB286A-F368-4819-85BE-E7864C698BA1}"/>
          </ac:spMkLst>
        </pc:spChg>
        <pc:spChg chg="mod">
          <ac:chgData name="Kyle Akepanidtaworn" userId="4250081e-2882-4185-9e9c-d3298cc00d78" providerId="ADAL" clId="{E3BEE011-BDE0-4924-857F-571F4CEA325A}" dt="2021-03-17T02:51:48.190" v="1010" actId="14100"/>
          <ac:spMkLst>
            <pc:docMk/>
            <pc:sldMk cId="2751210333" sldId="560"/>
            <ac:spMk id="113" creationId="{CA0848F5-A449-493B-9FFD-CB90C046EFD4}"/>
          </ac:spMkLst>
        </pc:spChg>
        <pc:spChg chg="mod">
          <ac:chgData name="Kyle Akepanidtaworn" userId="4250081e-2882-4185-9e9c-d3298cc00d78" providerId="ADAL" clId="{E3BEE011-BDE0-4924-857F-571F4CEA325A}" dt="2021-03-17T02:51:48.190" v="1010" actId="14100"/>
          <ac:spMkLst>
            <pc:docMk/>
            <pc:sldMk cId="2751210333" sldId="560"/>
            <ac:spMk id="115" creationId="{E3515AE7-1E51-4BB4-9694-DB014FF9A8BC}"/>
          </ac:spMkLst>
        </pc:spChg>
        <pc:spChg chg="mod">
          <ac:chgData name="Kyle Akepanidtaworn" userId="4250081e-2882-4185-9e9c-d3298cc00d78" providerId="ADAL" clId="{E3BEE011-BDE0-4924-857F-571F4CEA325A}" dt="2021-03-17T02:51:48.190" v="1010" actId="14100"/>
          <ac:spMkLst>
            <pc:docMk/>
            <pc:sldMk cId="2751210333" sldId="560"/>
            <ac:spMk id="116" creationId="{D8492100-1391-4FE3-A209-AC283A5B7078}"/>
          </ac:spMkLst>
        </pc:spChg>
        <pc:spChg chg="mod">
          <ac:chgData name="Kyle Akepanidtaworn" userId="4250081e-2882-4185-9e9c-d3298cc00d78" providerId="ADAL" clId="{E3BEE011-BDE0-4924-857F-571F4CEA325A}" dt="2021-03-17T02:51:48.190" v="1010" actId="14100"/>
          <ac:spMkLst>
            <pc:docMk/>
            <pc:sldMk cId="2751210333" sldId="560"/>
            <ac:spMk id="117" creationId="{ECC5EAA3-A9FF-4AC2-BF26-BBF3BD302495}"/>
          </ac:spMkLst>
        </pc:spChg>
        <pc:spChg chg="mod">
          <ac:chgData name="Kyle Akepanidtaworn" userId="4250081e-2882-4185-9e9c-d3298cc00d78" providerId="ADAL" clId="{E3BEE011-BDE0-4924-857F-571F4CEA325A}" dt="2021-03-17T02:51:48.190" v="1010" actId="14100"/>
          <ac:spMkLst>
            <pc:docMk/>
            <pc:sldMk cId="2751210333" sldId="560"/>
            <ac:spMk id="118" creationId="{E89E4761-0EC5-46CC-9D8F-ADEC4D19994C}"/>
          </ac:spMkLst>
        </pc:spChg>
        <pc:spChg chg="mod">
          <ac:chgData name="Kyle Akepanidtaworn" userId="4250081e-2882-4185-9e9c-d3298cc00d78" providerId="ADAL" clId="{E3BEE011-BDE0-4924-857F-571F4CEA325A}" dt="2021-03-17T02:51:48.190" v="1010" actId="14100"/>
          <ac:spMkLst>
            <pc:docMk/>
            <pc:sldMk cId="2751210333" sldId="560"/>
            <ac:spMk id="119" creationId="{9D818E17-0540-4792-9300-075D05E85B67}"/>
          </ac:spMkLst>
        </pc:spChg>
        <pc:spChg chg="mod">
          <ac:chgData name="Kyle Akepanidtaworn" userId="4250081e-2882-4185-9e9c-d3298cc00d78" providerId="ADAL" clId="{E3BEE011-BDE0-4924-857F-571F4CEA325A}" dt="2021-03-17T02:51:48.190" v="1010" actId="14100"/>
          <ac:spMkLst>
            <pc:docMk/>
            <pc:sldMk cId="2751210333" sldId="560"/>
            <ac:spMk id="120" creationId="{70C7D634-3691-4277-9061-5D1DCC463D86}"/>
          </ac:spMkLst>
        </pc:spChg>
        <pc:spChg chg="mod">
          <ac:chgData name="Kyle Akepanidtaworn" userId="4250081e-2882-4185-9e9c-d3298cc00d78" providerId="ADAL" clId="{E3BEE011-BDE0-4924-857F-571F4CEA325A}" dt="2021-03-17T02:51:48.190" v="1010" actId="14100"/>
          <ac:spMkLst>
            <pc:docMk/>
            <pc:sldMk cId="2751210333" sldId="560"/>
            <ac:spMk id="121" creationId="{5B858E0D-02CE-47E5-B06A-5A3099BBA336}"/>
          </ac:spMkLst>
        </pc:spChg>
        <pc:spChg chg="mod">
          <ac:chgData name="Kyle Akepanidtaworn" userId="4250081e-2882-4185-9e9c-d3298cc00d78" providerId="ADAL" clId="{E3BEE011-BDE0-4924-857F-571F4CEA325A}" dt="2021-03-17T02:51:48.190" v="1010" actId="14100"/>
          <ac:spMkLst>
            <pc:docMk/>
            <pc:sldMk cId="2751210333" sldId="560"/>
            <ac:spMk id="122" creationId="{0BAA203C-5753-45DC-8E2A-43362FB6F9D0}"/>
          </ac:spMkLst>
        </pc:spChg>
        <pc:spChg chg="mod">
          <ac:chgData name="Kyle Akepanidtaworn" userId="4250081e-2882-4185-9e9c-d3298cc00d78" providerId="ADAL" clId="{E3BEE011-BDE0-4924-857F-571F4CEA325A}" dt="2021-03-17T02:51:48.190" v="1010" actId="14100"/>
          <ac:spMkLst>
            <pc:docMk/>
            <pc:sldMk cId="2751210333" sldId="560"/>
            <ac:spMk id="123" creationId="{F1C3EB53-99D1-44C8-AB87-D682C1EDF7F7}"/>
          </ac:spMkLst>
        </pc:spChg>
        <pc:spChg chg="mod">
          <ac:chgData name="Kyle Akepanidtaworn" userId="4250081e-2882-4185-9e9c-d3298cc00d78" providerId="ADAL" clId="{E3BEE011-BDE0-4924-857F-571F4CEA325A}" dt="2021-03-17T02:51:48.190" v="1010" actId="14100"/>
          <ac:spMkLst>
            <pc:docMk/>
            <pc:sldMk cId="2751210333" sldId="560"/>
            <ac:spMk id="124" creationId="{2618E13F-527F-4266-A25B-B8B8BA7826CF}"/>
          </ac:spMkLst>
        </pc:spChg>
        <pc:spChg chg="mod">
          <ac:chgData name="Kyle Akepanidtaworn" userId="4250081e-2882-4185-9e9c-d3298cc00d78" providerId="ADAL" clId="{E3BEE011-BDE0-4924-857F-571F4CEA325A}" dt="2021-03-17T02:51:48.190" v="1010" actId="14100"/>
          <ac:spMkLst>
            <pc:docMk/>
            <pc:sldMk cId="2751210333" sldId="560"/>
            <ac:spMk id="125" creationId="{591E4DB3-0EBC-4E13-A036-63AC90FB6836}"/>
          </ac:spMkLst>
        </pc:spChg>
        <pc:spChg chg="mod">
          <ac:chgData name="Kyle Akepanidtaworn" userId="4250081e-2882-4185-9e9c-d3298cc00d78" providerId="ADAL" clId="{E3BEE011-BDE0-4924-857F-571F4CEA325A}" dt="2021-03-17T02:51:48.190" v="1010" actId="14100"/>
          <ac:spMkLst>
            <pc:docMk/>
            <pc:sldMk cId="2751210333" sldId="560"/>
            <ac:spMk id="126" creationId="{91E9A895-8534-4BFC-9F86-F3EAB9EACEE7}"/>
          </ac:spMkLst>
        </pc:spChg>
        <pc:spChg chg="mod">
          <ac:chgData name="Kyle Akepanidtaworn" userId="4250081e-2882-4185-9e9c-d3298cc00d78" providerId="ADAL" clId="{E3BEE011-BDE0-4924-857F-571F4CEA325A}" dt="2021-03-17T02:51:48.190" v="1010" actId="14100"/>
          <ac:spMkLst>
            <pc:docMk/>
            <pc:sldMk cId="2751210333" sldId="560"/>
            <ac:spMk id="127" creationId="{68E86E85-FA85-4F28-BA4B-C70CD6EFC1A3}"/>
          </ac:spMkLst>
        </pc:spChg>
        <pc:spChg chg="mod">
          <ac:chgData name="Kyle Akepanidtaworn" userId="4250081e-2882-4185-9e9c-d3298cc00d78" providerId="ADAL" clId="{E3BEE011-BDE0-4924-857F-571F4CEA325A}" dt="2021-03-17T02:51:48.190" v="1010" actId="14100"/>
          <ac:spMkLst>
            <pc:docMk/>
            <pc:sldMk cId="2751210333" sldId="560"/>
            <ac:spMk id="128" creationId="{3649DF5C-A858-4F40-B5B8-48ADCA6CAD56}"/>
          </ac:spMkLst>
        </pc:spChg>
        <pc:spChg chg="mod">
          <ac:chgData name="Kyle Akepanidtaworn" userId="4250081e-2882-4185-9e9c-d3298cc00d78" providerId="ADAL" clId="{E3BEE011-BDE0-4924-857F-571F4CEA325A}" dt="2021-03-17T02:51:48.190" v="1010" actId="14100"/>
          <ac:spMkLst>
            <pc:docMk/>
            <pc:sldMk cId="2751210333" sldId="560"/>
            <ac:spMk id="129" creationId="{67168697-6A0D-4AD3-A589-4BEC555D0E45}"/>
          </ac:spMkLst>
        </pc:spChg>
        <pc:spChg chg="mod">
          <ac:chgData name="Kyle Akepanidtaworn" userId="4250081e-2882-4185-9e9c-d3298cc00d78" providerId="ADAL" clId="{E3BEE011-BDE0-4924-857F-571F4CEA325A}" dt="2021-03-17T02:51:48.190" v="1010" actId="14100"/>
          <ac:spMkLst>
            <pc:docMk/>
            <pc:sldMk cId="2751210333" sldId="560"/>
            <ac:spMk id="130" creationId="{C3140410-DB87-4510-8589-6C16C9012289}"/>
          </ac:spMkLst>
        </pc:spChg>
        <pc:spChg chg="mod">
          <ac:chgData name="Kyle Akepanidtaworn" userId="4250081e-2882-4185-9e9c-d3298cc00d78" providerId="ADAL" clId="{E3BEE011-BDE0-4924-857F-571F4CEA325A}" dt="2021-03-17T02:51:48.190" v="1010" actId="14100"/>
          <ac:spMkLst>
            <pc:docMk/>
            <pc:sldMk cId="2751210333" sldId="560"/>
            <ac:spMk id="131" creationId="{29BF93E8-538D-4B9B-8469-D2AE42642CA8}"/>
          </ac:spMkLst>
        </pc:spChg>
        <pc:spChg chg="mod">
          <ac:chgData name="Kyle Akepanidtaworn" userId="4250081e-2882-4185-9e9c-d3298cc00d78" providerId="ADAL" clId="{E3BEE011-BDE0-4924-857F-571F4CEA325A}" dt="2021-03-17T02:51:48.190" v="1010" actId="14100"/>
          <ac:spMkLst>
            <pc:docMk/>
            <pc:sldMk cId="2751210333" sldId="560"/>
            <ac:spMk id="132" creationId="{A7EE62EB-D067-46BD-89FE-75C6713053DC}"/>
          </ac:spMkLst>
        </pc:spChg>
        <pc:spChg chg="mod">
          <ac:chgData name="Kyle Akepanidtaworn" userId="4250081e-2882-4185-9e9c-d3298cc00d78" providerId="ADAL" clId="{E3BEE011-BDE0-4924-857F-571F4CEA325A}" dt="2021-03-17T02:51:48.190" v="1010" actId="14100"/>
          <ac:spMkLst>
            <pc:docMk/>
            <pc:sldMk cId="2751210333" sldId="560"/>
            <ac:spMk id="133" creationId="{180DAB10-5451-4974-9C3C-170144B9DA3D}"/>
          </ac:spMkLst>
        </pc:spChg>
        <pc:spChg chg="mod">
          <ac:chgData name="Kyle Akepanidtaworn" userId="4250081e-2882-4185-9e9c-d3298cc00d78" providerId="ADAL" clId="{E3BEE011-BDE0-4924-857F-571F4CEA325A}" dt="2021-03-17T02:51:48.190" v="1010" actId="14100"/>
          <ac:spMkLst>
            <pc:docMk/>
            <pc:sldMk cId="2751210333" sldId="560"/>
            <ac:spMk id="134" creationId="{9B4E4900-13A7-42C8-ACE7-D01BC6E2A9EA}"/>
          </ac:spMkLst>
        </pc:spChg>
        <pc:spChg chg="mod">
          <ac:chgData name="Kyle Akepanidtaworn" userId="4250081e-2882-4185-9e9c-d3298cc00d78" providerId="ADAL" clId="{E3BEE011-BDE0-4924-857F-571F4CEA325A}" dt="2021-03-17T02:51:48.190" v="1010" actId="14100"/>
          <ac:spMkLst>
            <pc:docMk/>
            <pc:sldMk cId="2751210333" sldId="560"/>
            <ac:spMk id="135" creationId="{24EF601C-1B73-459E-B926-352BCA77217B}"/>
          </ac:spMkLst>
        </pc:spChg>
        <pc:spChg chg="mod">
          <ac:chgData name="Kyle Akepanidtaworn" userId="4250081e-2882-4185-9e9c-d3298cc00d78" providerId="ADAL" clId="{E3BEE011-BDE0-4924-857F-571F4CEA325A}" dt="2021-03-17T02:51:48.190" v="1010" actId="14100"/>
          <ac:spMkLst>
            <pc:docMk/>
            <pc:sldMk cId="2751210333" sldId="560"/>
            <ac:spMk id="136" creationId="{3B466176-5A58-4672-A749-CAA79D070D93}"/>
          </ac:spMkLst>
        </pc:spChg>
        <pc:spChg chg="mod">
          <ac:chgData name="Kyle Akepanidtaworn" userId="4250081e-2882-4185-9e9c-d3298cc00d78" providerId="ADAL" clId="{E3BEE011-BDE0-4924-857F-571F4CEA325A}" dt="2021-03-17T02:51:48.190" v="1010" actId="14100"/>
          <ac:spMkLst>
            <pc:docMk/>
            <pc:sldMk cId="2751210333" sldId="560"/>
            <ac:spMk id="137" creationId="{CB9BDAB3-303A-4E37-A2C2-CC3548F6B5FC}"/>
          </ac:spMkLst>
        </pc:spChg>
        <pc:spChg chg="mod">
          <ac:chgData name="Kyle Akepanidtaworn" userId="4250081e-2882-4185-9e9c-d3298cc00d78" providerId="ADAL" clId="{E3BEE011-BDE0-4924-857F-571F4CEA325A}" dt="2021-03-17T02:51:48.190" v="1010" actId="14100"/>
          <ac:spMkLst>
            <pc:docMk/>
            <pc:sldMk cId="2751210333" sldId="560"/>
            <ac:spMk id="138" creationId="{1DE6BE19-39A4-4104-8DD5-1F07DF4D4EF8}"/>
          </ac:spMkLst>
        </pc:spChg>
        <pc:spChg chg="mod">
          <ac:chgData name="Kyle Akepanidtaworn" userId="4250081e-2882-4185-9e9c-d3298cc00d78" providerId="ADAL" clId="{E3BEE011-BDE0-4924-857F-571F4CEA325A}" dt="2021-03-17T02:51:48.190" v="1010" actId="14100"/>
          <ac:spMkLst>
            <pc:docMk/>
            <pc:sldMk cId="2751210333" sldId="560"/>
            <ac:spMk id="139" creationId="{26B821A5-AB15-4FED-8086-2109ADD17D21}"/>
          </ac:spMkLst>
        </pc:spChg>
        <pc:spChg chg="mod">
          <ac:chgData name="Kyle Akepanidtaworn" userId="4250081e-2882-4185-9e9c-d3298cc00d78" providerId="ADAL" clId="{E3BEE011-BDE0-4924-857F-571F4CEA325A}" dt="2021-03-17T02:51:48.190" v="1010" actId="14100"/>
          <ac:spMkLst>
            <pc:docMk/>
            <pc:sldMk cId="2751210333" sldId="560"/>
            <ac:spMk id="140" creationId="{BCF9EB26-DEFC-48AD-8D14-37A224E6DFF4}"/>
          </ac:spMkLst>
        </pc:spChg>
        <pc:spChg chg="mod">
          <ac:chgData name="Kyle Akepanidtaworn" userId="4250081e-2882-4185-9e9c-d3298cc00d78" providerId="ADAL" clId="{E3BEE011-BDE0-4924-857F-571F4CEA325A}" dt="2021-03-17T02:51:48.190" v="1010" actId="14100"/>
          <ac:spMkLst>
            <pc:docMk/>
            <pc:sldMk cId="2751210333" sldId="560"/>
            <ac:spMk id="141" creationId="{D005791B-1F18-42D5-BED4-5E2BB8B57C4C}"/>
          </ac:spMkLst>
        </pc:spChg>
        <pc:spChg chg="mod">
          <ac:chgData name="Kyle Akepanidtaworn" userId="4250081e-2882-4185-9e9c-d3298cc00d78" providerId="ADAL" clId="{E3BEE011-BDE0-4924-857F-571F4CEA325A}" dt="2021-03-17T02:51:48.190" v="1010" actId="14100"/>
          <ac:spMkLst>
            <pc:docMk/>
            <pc:sldMk cId="2751210333" sldId="560"/>
            <ac:spMk id="142" creationId="{D7290B0C-A45F-446A-B063-5E38B28BB947}"/>
          </ac:spMkLst>
        </pc:spChg>
        <pc:spChg chg="mod">
          <ac:chgData name="Kyle Akepanidtaworn" userId="4250081e-2882-4185-9e9c-d3298cc00d78" providerId="ADAL" clId="{E3BEE011-BDE0-4924-857F-571F4CEA325A}" dt="2021-03-17T02:51:48.190" v="1010" actId="14100"/>
          <ac:spMkLst>
            <pc:docMk/>
            <pc:sldMk cId="2751210333" sldId="560"/>
            <ac:spMk id="143" creationId="{FE53B537-F04C-422A-AEA7-0552C410EB71}"/>
          </ac:spMkLst>
        </pc:spChg>
        <pc:picChg chg="mod">
          <ac:chgData name="Kyle Akepanidtaworn" userId="4250081e-2882-4185-9e9c-d3298cc00d78" providerId="ADAL" clId="{E3BEE011-BDE0-4924-857F-571F4CEA325A}" dt="2021-03-17T02:51:48.190" v="1010" actId="14100"/>
          <ac:picMkLst>
            <pc:docMk/>
            <pc:sldMk cId="2751210333" sldId="560"/>
            <ac:picMk id="77" creationId="{AC178C05-3E51-4B67-86EF-A33BD7754960}"/>
          </ac:picMkLst>
        </pc:picChg>
        <pc:picChg chg="mod">
          <ac:chgData name="Kyle Akepanidtaworn" userId="4250081e-2882-4185-9e9c-d3298cc00d78" providerId="ADAL" clId="{E3BEE011-BDE0-4924-857F-571F4CEA325A}" dt="2021-03-17T02:51:48.190" v="1010" actId="14100"/>
          <ac:picMkLst>
            <pc:docMk/>
            <pc:sldMk cId="2751210333" sldId="560"/>
            <ac:picMk id="79" creationId="{FB6D242B-1B68-4AA7-A3BE-2CB13A47B459}"/>
          </ac:picMkLst>
        </pc:picChg>
        <pc:picChg chg="mod">
          <ac:chgData name="Kyle Akepanidtaworn" userId="4250081e-2882-4185-9e9c-d3298cc00d78" providerId="ADAL" clId="{E3BEE011-BDE0-4924-857F-571F4CEA325A}" dt="2021-03-17T02:51:48.190" v="1010" actId="14100"/>
          <ac:picMkLst>
            <pc:docMk/>
            <pc:sldMk cId="2751210333" sldId="560"/>
            <ac:picMk id="81" creationId="{0D8570BA-70A7-423A-80C8-FEFFC1DE054A}"/>
          </ac:picMkLst>
        </pc:picChg>
        <pc:picChg chg="mod">
          <ac:chgData name="Kyle Akepanidtaworn" userId="4250081e-2882-4185-9e9c-d3298cc00d78" providerId="ADAL" clId="{E3BEE011-BDE0-4924-857F-571F4CEA325A}" dt="2021-03-17T02:51:48.190" v="1010" actId="14100"/>
          <ac:picMkLst>
            <pc:docMk/>
            <pc:sldMk cId="2751210333" sldId="560"/>
            <ac:picMk id="83" creationId="{7D13525A-64ED-468A-B0BB-39EF80FC9EEF}"/>
          </ac:picMkLst>
        </pc:picChg>
        <pc:picChg chg="mod">
          <ac:chgData name="Kyle Akepanidtaworn" userId="4250081e-2882-4185-9e9c-d3298cc00d78" providerId="ADAL" clId="{E3BEE011-BDE0-4924-857F-571F4CEA325A}" dt="2021-03-17T02:51:48.190" v="1010" actId="14100"/>
          <ac:picMkLst>
            <pc:docMk/>
            <pc:sldMk cId="2751210333" sldId="560"/>
            <ac:picMk id="86" creationId="{1B3E4951-6F1C-4D00-A8EC-295238BD81D7}"/>
          </ac:picMkLst>
        </pc:picChg>
        <pc:picChg chg="mod">
          <ac:chgData name="Kyle Akepanidtaworn" userId="4250081e-2882-4185-9e9c-d3298cc00d78" providerId="ADAL" clId="{E3BEE011-BDE0-4924-857F-571F4CEA325A}" dt="2021-03-17T02:51:48.190" v="1010" actId="14100"/>
          <ac:picMkLst>
            <pc:docMk/>
            <pc:sldMk cId="2751210333" sldId="560"/>
            <ac:picMk id="88" creationId="{8C9A9F08-3472-4473-A0B3-28BEA092DCE1}"/>
          </ac:picMkLst>
        </pc:picChg>
      </pc:sldChg>
      <pc:sldChg chg="add del">
        <pc:chgData name="Kyle Akepanidtaworn" userId="4250081e-2882-4185-9e9c-d3298cc00d78" providerId="ADAL" clId="{E3BEE011-BDE0-4924-857F-571F4CEA325A}" dt="2021-03-11T07:47:48.059" v="565" actId="47"/>
        <pc:sldMkLst>
          <pc:docMk/>
          <pc:sldMk cId="2752092246" sldId="10071"/>
        </pc:sldMkLst>
      </pc:sldChg>
      <pc:sldChg chg="modSp add del mod">
        <pc:chgData name="Kyle Akepanidtaworn" userId="4250081e-2882-4185-9e9c-d3298cc00d78" providerId="ADAL" clId="{E3BEE011-BDE0-4924-857F-571F4CEA325A}" dt="2021-03-11T07:19:42.588" v="289" actId="47"/>
        <pc:sldMkLst>
          <pc:docMk/>
          <pc:sldMk cId="197094675" sldId="2076137315"/>
        </pc:sldMkLst>
        <pc:spChg chg="mod">
          <ac:chgData name="Kyle Akepanidtaworn" userId="4250081e-2882-4185-9e9c-d3298cc00d78" providerId="ADAL" clId="{E3BEE011-BDE0-4924-857F-571F4CEA325A}" dt="2021-03-11T07:14:40.997" v="174" actId="108"/>
          <ac:spMkLst>
            <pc:docMk/>
            <pc:sldMk cId="197094675" sldId="2076137315"/>
            <ac:spMk id="2" creationId="{BD86AA1D-1B44-4E04-A8FC-645F9068659E}"/>
          </ac:spMkLst>
        </pc:spChg>
      </pc:sldChg>
      <pc:sldChg chg="add del">
        <pc:chgData name="Kyle Akepanidtaworn" userId="4250081e-2882-4185-9e9c-d3298cc00d78" providerId="ADAL" clId="{E3BEE011-BDE0-4924-857F-571F4CEA325A}" dt="2021-03-11T07:19:42.588" v="289" actId="47"/>
        <pc:sldMkLst>
          <pc:docMk/>
          <pc:sldMk cId="2770673834" sldId="2076137316"/>
        </pc:sldMkLst>
      </pc:sldChg>
      <pc:sldChg chg="modSp add mod">
        <pc:chgData name="Kyle Akepanidtaworn" userId="4250081e-2882-4185-9e9c-d3298cc00d78" providerId="ADAL" clId="{E3BEE011-BDE0-4924-857F-571F4CEA325A}" dt="2021-03-11T07:33:24.995" v="311" actId="404"/>
        <pc:sldMkLst>
          <pc:docMk/>
          <pc:sldMk cId="2344325307" sldId="2076137322"/>
        </pc:sldMkLst>
        <pc:spChg chg="mod">
          <ac:chgData name="Kyle Akepanidtaworn" userId="4250081e-2882-4185-9e9c-d3298cc00d78" providerId="ADAL" clId="{E3BEE011-BDE0-4924-857F-571F4CEA325A}" dt="2021-03-11T07:33:24.995" v="311" actId="404"/>
          <ac:spMkLst>
            <pc:docMk/>
            <pc:sldMk cId="2344325307" sldId="2076137322"/>
            <ac:spMk id="12" creationId="{077FBDF5-55B3-4E5B-A769-84A37F0C2D19}"/>
          </ac:spMkLst>
        </pc:spChg>
      </pc:sldChg>
      <pc:sldChg chg="modSp add del mod">
        <pc:chgData name="Kyle Akepanidtaworn" userId="4250081e-2882-4185-9e9c-d3298cc00d78" providerId="ADAL" clId="{E3BEE011-BDE0-4924-857F-571F4CEA325A}" dt="2021-03-11T07:47:48.059" v="565" actId="47"/>
        <pc:sldMkLst>
          <pc:docMk/>
          <pc:sldMk cId="1540120764" sldId="2076137430"/>
        </pc:sldMkLst>
        <pc:spChg chg="mod">
          <ac:chgData name="Kyle Akepanidtaworn" userId="4250081e-2882-4185-9e9c-d3298cc00d78" providerId="ADAL" clId="{E3BEE011-BDE0-4924-857F-571F4CEA325A}" dt="2021-03-11T07:34:00.795" v="317" actId="403"/>
          <ac:spMkLst>
            <pc:docMk/>
            <pc:sldMk cId="1540120764" sldId="2076137430"/>
            <ac:spMk id="2" creationId="{97DBDC07-7F6D-4ADD-8C5A-0FC2D8B6FAE9}"/>
          </ac:spMkLst>
        </pc:spChg>
      </pc:sldChg>
      <pc:sldChg chg="modSp add mod">
        <pc:chgData name="Kyle Akepanidtaworn" userId="4250081e-2882-4185-9e9c-d3298cc00d78" providerId="ADAL" clId="{E3BEE011-BDE0-4924-857F-571F4CEA325A}" dt="2021-03-25T07:18:16.050" v="2329" actId="20577"/>
        <pc:sldMkLst>
          <pc:docMk/>
          <pc:sldMk cId="2299393425" sldId="2134804973"/>
        </pc:sldMkLst>
        <pc:spChg chg="mod">
          <ac:chgData name="Kyle Akepanidtaworn" userId="4250081e-2882-4185-9e9c-d3298cc00d78" providerId="ADAL" clId="{E3BEE011-BDE0-4924-857F-571F4CEA325A}" dt="2021-03-25T07:18:16.050" v="2329" actId="20577"/>
          <ac:spMkLst>
            <pc:docMk/>
            <pc:sldMk cId="2299393425" sldId="2134804973"/>
            <ac:spMk id="2" creationId="{21ED99C0-1A24-4F67-B0B8-E4BDA5725DE6}"/>
          </ac:spMkLst>
        </pc:spChg>
      </pc:sldChg>
      <pc:sldChg chg="modSp add del mod">
        <pc:chgData name="Kyle Akepanidtaworn" userId="4250081e-2882-4185-9e9c-d3298cc00d78" providerId="ADAL" clId="{E3BEE011-BDE0-4924-857F-571F4CEA325A}" dt="2021-03-17T02:51:38.707" v="1008" actId="108"/>
        <pc:sldMkLst>
          <pc:docMk/>
          <pc:sldMk cId="2938592746" sldId="2146846405"/>
        </pc:sldMkLst>
        <pc:spChg chg="mod">
          <ac:chgData name="Kyle Akepanidtaworn" userId="4250081e-2882-4185-9e9c-d3298cc00d78" providerId="ADAL" clId="{E3BEE011-BDE0-4924-857F-571F4CEA325A}" dt="2021-03-17T02:51:38.707" v="1008" actId="108"/>
          <ac:spMkLst>
            <pc:docMk/>
            <pc:sldMk cId="2938592746" sldId="2146846405"/>
            <ac:spMk id="2" creationId="{C44CB45E-4465-4090-B749-55958DC155E4}"/>
          </ac:spMkLst>
        </pc:spChg>
        <pc:spChg chg="mod">
          <ac:chgData name="Kyle Akepanidtaworn" userId="4250081e-2882-4185-9e9c-d3298cc00d78" providerId="ADAL" clId="{E3BEE011-BDE0-4924-857F-571F4CEA325A}" dt="2021-03-15T08:31:29.744" v="848"/>
          <ac:spMkLst>
            <pc:docMk/>
            <pc:sldMk cId="2938592746" sldId="2146846405"/>
            <ac:spMk id="3" creationId="{5F8803D8-32E7-4BE4-8892-AB0A33ACD3E8}"/>
          </ac:spMkLst>
        </pc:spChg>
      </pc:sldChg>
      <pc:sldChg chg="modSp add mod">
        <pc:chgData name="Kyle Akepanidtaworn" userId="4250081e-2882-4185-9e9c-d3298cc00d78" providerId="ADAL" clId="{E3BEE011-BDE0-4924-857F-571F4CEA325A}" dt="2021-03-15T08:32:06.944" v="851" actId="20577"/>
        <pc:sldMkLst>
          <pc:docMk/>
          <pc:sldMk cId="104078319" sldId="2146846406"/>
        </pc:sldMkLst>
        <pc:spChg chg="mod">
          <ac:chgData name="Kyle Akepanidtaworn" userId="4250081e-2882-4185-9e9c-d3298cc00d78" providerId="ADAL" clId="{E3BEE011-BDE0-4924-857F-571F4CEA325A}" dt="2021-03-11T07:33:28.468" v="312" actId="207"/>
          <ac:spMkLst>
            <pc:docMk/>
            <pc:sldMk cId="104078319" sldId="2146846406"/>
            <ac:spMk id="2" creationId="{538664CE-82CD-41E0-917A-7205BD5652BA}"/>
          </ac:spMkLst>
        </pc:spChg>
        <pc:spChg chg="mod">
          <ac:chgData name="Kyle Akepanidtaworn" userId="4250081e-2882-4185-9e9c-d3298cc00d78" providerId="ADAL" clId="{E3BEE011-BDE0-4924-857F-571F4CEA325A}" dt="2021-03-15T08:32:06.944" v="851" actId="20577"/>
          <ac:spMkLst>
            <pc:docMk/>
            <pc:sldMk cId="104078319" sldId="2146846406"/>
            <ac:spMk id="3" creationId="{62305E6A-D14A-4A8A-B672-75BD5F4C36FD}"/>
          </ac:spMkLst>
        </pc:spChg>
      </pc:sldChg>
      <pc:sldChg chg="modSp add mod">
        <pc:chgData name="Kyle Akepanidtaworn" userId="4250081e-2882-4185-9e9c-d3298cc00d78" providerId="ADAL" clId="{E3BEE011-BDE0-4924-857F-571F4CEA325A}" dt="2021-03-15T08:32:11.842" v="852" actId="20577"/>
        <pc:sldMkLst>
          <pc:docMk/>
          <pc:sldMk cId="706992813" sldId="2146846407"/>
        </pc:sldMkLst>
        <pc:spChg chg="mod">
          <ac:chgData name="Kyle Akepanidtaworn" userId="4250081e-2882-4185-9e9c-d3298cc00d78" providerId="ADAL" clId="{E3BEE011-BDE0-4924-857F-571F4CEA325A}" dt="2021-03-11T07:33:31.506" v="313" actId="207"/>
          <ac:spMkLst>
            <pc:docMk/>
            <pc:sldMk cId="706992813" sldId="2146846407"/>
            <ac:spMk id="2" creationId="{538664CE-82CD-41E0-917A-7205BD5652BA}"/>
          </ac:spMkLst>
        </pc:spChg>
        <pc:spChg chg="mod">
          <ac:chgData name="Kyle Akepanidtaworn" userId="4250081e-2882-4185-9e9c-d3298cc00d78" providerId="ADAL" clId="{E3BEE011-BDE0-4924-857F-571F4CEA325A}" dt="2021-03-15T08:32:11.842" v="852" actId="20577"/>
          <ac:spMkLst>
            <pc:docMk/>
            <pc:sldMk cId="706992813" sldId="2146846407"/>
            <ac:spMk id="3" creationId="{62305E6A-D14A-4A8A-B672-75BD5F4C36FD}"/>
          </ac:spMkLst>
        </pc:spChg>
      </pc:sldChg>
      <pc:sldChg chg="add del">
        <pc:chgData name="Kyle Akepanidtaworn" userId="4250081e-2882-4185-9e9c-d3298cc00d78" providerId="ADAL" clId="{E3BEE011-BDE0-4924-857F-571F4CEA325A}" dt="2021-03-11T07:52:23.334" v="628" actId="47"/>
        <pc:sldMkLst>
          <pc:docMk/>
          <pc:sldMk cId="1050053566" sldId="2146846408"/>
        </pc:sldMkLst>
      </pc:sldChg>
      <pc:sldChg chg="add del">
        <pc:chgData name="Kyle Akepanidtaworn" userId="4250081e-2882-4185-9e9c-d3298cc00d78" providerId="ADAL" clId="{E3BEE011-BDE0-4924-857F-571F4CEA325A}" dt="2021-03-11T07:18:39.297" v="282" actId="22"/>
        <pc:sldMkLst>
          <pc:docMk/>
          <pc:sldMk cId="1376946887" sldId="2146846408"/>
        </pc:sldMkLst>
      </pc:sldChg>
      <pc:sldChg chg="add del">
        <pc:chgData name="Kyle Akepanidtaworn" userId="4250081e-2882-4185-9e9c-d3298cc00d78" providerId="ADAL" clId="{E3BEE011-BDE0-4924-857F-571F4CEA325A}" dt="2021-03-11T07:18:43.346" v="284" actId="22"/>
        <pc:sldMkLst>
          <pc:docMk/>
          <pc:sldMk cId="2022007226" sldId="2146846408"/>
        </pc:sldMkLst>
      </pc:sldChg>
      <pc:sldChg chg="add del">
        <pc:chgData name="Kyle Akepanidtaworn" userId="4250081e-2882-4185-9e9c-d3298cc00d78" providerId="ADAL" clId="{E3BEE011-BDE0-4924-857F-571F4CEA325A}" dt="2021-03-11T07:19:01.613" v="288"/>
        <pc:sldMkLst>
          <pc:docMk/>
          <pc:sldMk cId="21676452" sldId="2146846409"/>
        </pc:sldMkLst>
      </pc:sldChg>
      <pc:sldChg chg="addSp delSp modSp add del mod ord">
        <pc:chgData name="Kyle Akepanidtaworn" userId="4250081e-2882-4185-9e9c-d3298cc00d78" providerId="ADAL" clId="{E3BEE011-BDE0-4924-857F-571F4CEA325A}" dt="2021-03-11T07:47:48.059" v="565" actId="47"/>
        <pc:sldMkLst>
          <pc:docMk/>
          <pc:sldMk cId="2762579071" sldId="2146846409"/>
        </pc:sldMkLst>
        <pc:spChg chg="add del mod">
          <ac:chgData name="Kyle Akepanidtaworn" userId="4250081e-2882-4185-9e9c-d3298cc00d78" providerId="ADAL" clId="{E3BEE011-BDE0-4924-857F-571F4CEA325A}" dt="2021-03-11T07:36:25.952" v="338" actId="21"/>
          <ac:spMkLst>
            <pc:docMk/>
            <pc:sldMk cId="2762579071" sldId="2146846409"/>
            <ac:spMk id="4" creationId="{3AF18744-3DE4-41A8-AA9F-2662D6476DC8}"/>
          </ac:spMkLst>
        </pc:spChg>
        <pc:spChg chg="add del mod">
          <ac:chgData name="Kyle Akepanidtaworn" userId="4250081e-2882-4185-9e9c-d3298cc00d78" providerId="ADAL" clId="{E3BEE011-BDE0-4924-857F-571F4CEA325A}" dt="2021-03-11T07:36:25.952" v="338" actId="21"/>
          <ac:spMkLst>
            <pc:docMk/>
            <pc:sldMk cId="2762579071" sldId="2146846409"/>
            <ac:spMk id="5" creationId="{C4D7C86D-CBF0-439D-8D57-4A78275A8BF4}"/>
          </ac:spMkLst>
        </pc:spChg>
        <pc:spChg chg="add del mod">
          <ac:chgData name="Kyle Akepanidtaworn" userId="4250081e-2882-4185-9e9c-d3298cc00d78" providerId="ADAL" clId="{E3BEE011-BDE0-4924-857F-571F4CEA325A}" dt="2021-03-11T07:34:35.926" v="323"/>
          <ac:spMkLst>
            <pc:docMk/>
            <pc:sldMk cId="2762579071" sldId="2146846409"/>
            <ac:spMk id="138" creationId="{07894722-6E4B-446C-94F7-AC678C4C880D}"/>
          </ac:spMkLst>
        </pc:spChg>
        <pc:spChg chg="del">
          <ac:chgData name="Kyle Akepanidtaworn" userId="4250081e-2882-4185-9e9c-d3298cc00d78" providerId="ADAL" clId="{E3BEE011-BDE0-4924-857F-571F4CEA325A}" dt="2021-03-11T07:34:11.307" v="321" actId="478"/>
          <ac:spMkLst>
            <pc:docMk/>
            <pc:sldMk cId="2762579071" sldId="2146846409"/>
            <ac:spMk id="139" creationId="{142CA2FD-B231-48EA-B7EC-7B5529609997}"/>
          </ac:spMkLst>
        </pc:spChg>
        <pc:spChg chg="del">
          <ac:chgData name="Kyle Akepanidtaworn" userId="4250081e-2882-4185-9e9c-d3298cc00d78" providerId="ADAL" clId="{E3BEE011-BDE0-4924-857F-571F4CEA325A}" dt="2021-03-11T07:34:11.307" v="321" actId="478"/>
          <ac:spMkLst>
            <pc:docMk/>
            <pc:sldMk cId="2762579071" sldId="2146846409"/>
            <ac:spMk id="140" creationId="{9A821D61-CE6A-4593-A425-2E5EA089098E}"/>
          </ac:spMkLst>
        </pc:spChg>
        <pc:spChg chg="del">
          <ac:chgData name="Kyle Akepanidtaworn" userId="4250081e-2882-4185-9e9c-d3298cc00d78" providerId="ADAL" clId="{E3BEE011-BDE0-4924-857F-571F4CEA325A}" dt="2021-03-11T07:34:11.307" v="321" actId="478"/>
          <ac:spMkLst>
            <pc:docMk/>
            <pc:sldMk cId="2762579071" sldId="2146846409"/>
            <ac:spMk id="141" creationId="{2A35039D-BEF2-4B26-B117-B9E92A7C4BB7}"/>
          </ac:spMkLst>
        </pc:spChg>
        <pc:spChg chg="del">
          <ac:chgData name="Kyle Akepanidtaworn" userId="4250081e-2882-4185-9e9c-d3298cc00d78" providerId="ADAL" clId="{E3BEE011-BDE0-4924-857F-571F4CEA325A}" dt="2021-03-11T07:34:11.307" v="321" actId="478"/>
          <ac:spMkLst>
            <pc:docMk/>
            <pc:sldMk cId="2762579071" sldId="2146846409"/>
            <ac:spMk id="142" creationId="{01DB5CF5-8629-46D7-82A3-672CB943269F}"/>
          </ac:spMkLst>
        </pc:spChg>
        <pc:spChg chg="del">
          <ac:chgData name="Kyle Akepanidtaworn" userId="4250081e-2882-4185-9e9c-d3298cc00d78" providerId="ADAL" clId="{E3BEE011-BDE0-4924-857F-571F4CEA325A}" dt="2021-03-11T07:34:11.307" v="321" actId="478"/>
          <ac:spMkLst>
            <pc:docMk/>
            <pc:sldMk cId="2762579071" sldId="2146846409"/>
            <ac:spMk id="143" creationId="{E277A9DF-B751-40C9-8209-C4843E1687C5}"/>
          </ac:spMkLst>
        </pc:spChg>
        <pc:spChg chg="del">
          <ac:chgData name="Kyle Akepanidtaworn" userId="4250081e-2882-4185-9e9c-d3298cc00d78" providerId="ADAL" clId="{E3BEE011-BDE0-4924-857F-571F4CEA325A}" dt="2021-03-11T07:34:11.307" v="321" actId="478"/>
          <ac:spMkLst>
            <pc:docMk/>
            <pc:sldMk cId="2762579071" sldId="2146846409"/>
            <ac:spMk id="144" creationId="{9FFD9F4C-FE25-458C-87FF-468AD445F4E9}"/>
          </ac:spMkLst>
        </pc:spChg>
        <pc:spChg chg="del">
          <ac:chgData name="Kyle Akepanidtaworn" userId="4250081e-2882-4185-9e9c-d3298cc00d78" providerId="ADAL" clId="{E3BEE011-BDE0-4924-857F-571F4CEA325A}" dt="2021-03-11T07:34:11.307" v="321" actId="478"/>
          <ac:spMkLst>
            <pc:docMk/>
            <pc:sldMk cId="2762579071" sldId="2146846409"/>
            <ac:spMk id="145" creationId="{05333E01-21DA-46ED-B631-2579D5F83341}"/>
          </ac:spMkLst>
        </pc:spChg>
        <pc:spChg chg="del">
          <ac:chgData name="Kyle Akepanidtaworn" userId="4250081e-2882-4185-9e9c-d3298cc00d78" providerId="ADAL" clId="{E3BEE011-BDE0-4924-857F-571F4CEA325A}" dt="2021-03-11T07:34:11.307" v="321" actId="478"/>
          <ac:spMkLst>
            <pc:docMk/>
            <pc:sldMk cId="2762579071" sldId="2146846409"/>
            <ac:spMk id="146" creationId="{0FBED75A-F3E2-4DD5-9822-799AB739F0AA}"/>
          </ac:spMkLst>
        </pc:spChg>
        <pc:spChg chg="del">
          <ac:chgData name="Kyle Akepanidtaworn" userId="4250081e-2882-4185-9e9c-d3298cc00d78" providerId="ADAL" clId="{E3BEE011-BDE0-4924-857F-571F4CEA325A}" dt="2021-03-11T07:34:11.307" v="321" actId="478"/>
          <ac:spMkLst>
            <pc:docMk/>
            <pc:sldMk cId="2762579071" sldId="2146846409"/>
            <ac:spMk id="147" creationId="{F3C48777-6396-41B4-8BEB-278E1F7CDDAC}"/>
          </ac:spMkLst>
        </pc:spChg>
        <pc:spChg chg="del">
          <ac:chgData name="Kyle Akepanidtaworn" userId="4250081e-2882-4185-9e9c-d3298cc00d78" providerId="ADAL" clId="{E3BEE011-BDE0-4924-857F-571F4CEA325A}" dt="2021-03-11T07:34:11.307" v="321" actId="478"/>
          <ac:spMkLst>
            <pc:docMk/>
            <pc:sldMk cId="2762579071" sldId="2146846409"/>
            <ac:spMk id="148" creationId="{7398D51D-145E-41D7-81AA-C42F941A3575}"/>
          </ac:spMkLst>
        </pc:spChg>
        <pc:spChg chg="del">
          <ac:chgData name="Kyle Akepanidtaworn" userId="4250081e-2882-4185-9e9c-d3298cc00d78" providerId="ADAL" clId="{E3BEE011-BDE0-4924-857F-571F4CEA325A}" dt="2021-03-11T07:34:11.307" v="321" actId="478"/>
          <ac:spMkLst>
            <pc:docMk/>
            <pc:sldMk cId="2762579071" sldId="2146846409"/>
            <ac:spMk id="149" creationId="{4881AC64-D5B8-4238-A64C-336F6F70A3E5}"/>
          </ac:spMkLst>
        </pc:spChg>
        <pc:spChg chg="del">
          <ac:chgData name="Kyle Akepanidtaworn" userId="4250081e-2882-4185-9e9c-d3298cc00d78" providerId="ADAL" clId="{E3BEE011-BDE0-4924-857F-571F4CEA325A}" dt="2021-03-11T07:34:11.307" v="321" actId="478"/>
          <ac:spMkLst>
            <pc:docMk/>
            <pc:sldMk cId="2762579071" sldId="2146846409"/>
            <ac:spMk id="150" creationId="{1BAA61EA-6698-4F42-9369-F0B51992609D}"/>
          </ac:spMkLst>
        </pc:spChg>
        <pc:spChg chg="del">
          <ac:chgData name="Kyle Akepanidtaworn" userId="4250081e-2882-4185-9e9c-d3298cc00d78" providerId="ADAL" clId="{E3BEE011-BDE0-4924-857F-571F4CEA325A}" dt="2021-03-11T07:34:11.307" v="321" actId="478"/>
          <ac:spMkLst>
            <pc:docMk/>
            <pc:sldMk cId="2762579071" sldId="2146846409"/>
            <ac:spMk id="151" creationId="{E24017F3-8E93-4F19-938F-EE401301BBD3}"/>
          </ac:spMkLst>
        </pc:spChg>
        <pc:spChg chg="del">
          <ac:chgData name="Kyle Akepanidtaworn" userId="4250081e-2882-4185-9e9c-d3298cc00d78" providerId="ADAL" clId="{E3BEE011-BDE0-4924-857F-571F4CEA325A}" dt="2021-03-11T07:34:11.307" v="321" actId="478"/>
          <ac:spMkLst>
            <pc:docMk/>
            <pc:sldMk cId="2762579071" sldId="2146846409"/>
            <ac:spMk id="152" creationId="{58C79105-BFB4-4CAA-B105-8AE662BFB113}"/>
          </ac:spMkLst>
        </pc:spChg>
        <pc:spChg chg="del">
          <ac:chgData name="Kyle Akepanidtaworn" userId="4250081e-2882-4185-9e9c-d3298cc00d78" providerId="ADAL" clId="{E3BEE011-BDE0-4924-857F-571F4CEA325A}" dt="2021-03-11T07:34:11.307" v="321" actId="478"/>
          <ac:spMkLst>
            <pc:docMk/>
            <pc:sldMk cId="2762579071" sldId="2146846409"/>
            <ac:spMk id="156" creationId="{541CE3E8-5A3D-4D9A-B06A-2C534ABFEB65}"/>
          </ac:spMkLst>
        </pc:spChg>
        <pc:spChg chg="del">
          <ac:chgData name="Kyle Akepanidtaworn" userId="4250081e-2882-4185-9e9c-d3298cc00d78" providerId="ADAL" clId="{E3BEE011-BDE0-4924-857F-571F4CEA325A}" dt="2021-03-11T07:34:11.307" v="321" actId="478"/>
          <ac:spMkLst>
            <pc:docMk/>
            <pc:sldMk cId="2762579071" sldId="2146846409"/>
            <ac:spMk id="161" creationId="{9DF68A49-7F2C-44BC-B042-4FA2FA868A97}"/>
          </ac:spMkLst>
        </pc:spChg>
        <pc:spChg chg="del">
          <ac:chgData name="Kyle Akepanidtaworn" userId="4250081e-2882-4185-9e9c-d3298cc00d78" providerId="ADAL" clId="{E3BEE011-BDE0-4924-857F-571F4CEA325A}" dt="2021-03-11T07:34:11.307" v="321" actId="478"/>
          <ac:spMkLst>
            <pc:docMk/>
            <pc:sldMk cId="2762579071" sldId="2146846409"/>
            <ac:spMk id="162" creationId="{79685E16-E0A3-470C-AB31-7608A95E4F41}"/>
          </ac:spMkLst>
        </pc:spChg>
        <pc:spChg chg="del">
          <ac:chgData name="Kyle Akepanidtaworn" userId="4250081e-2882-4185-9e9c-d3298cc00d78" providerId="ADAL" clId="{E3BEE011-BDE0-4924-857F-571F4CEA325A}" dt="2021-03-11T07:34:11.307" v="321" actId="478"/>
          <ac:spMkLst>
            <pc:docMk/>
            <pc:sldMk cId="2762579071" sldId="2146846409"/>
            <ac:spMk id="171" creationId="{A8237316-AABA-4E5A-8737-CF0AE51C7725}"/>
          </ac:spMkLst>
        </pc:spChg>
        <pc:spChg chg="del">
          <ac:chgData name="Kyle Akepanidtaworn" userId="4250081e-2882-4185-9e9c-d3298cc00d78" providerId="ADAL" clId="{E3BEE011-BDE0-4924-857F-571F4CEA325A}" dt="2021-03-11T07:34:11.307" v="321" actId="478"/>
          <ac:spMkLst>
            <pc:docMk/>
            <pc:sldMk cId="2762579071" sldId="2146846409"/>
            <ac:spMk id="205" creationId="{AAFE6734-6DB3-4710-8215-139BAF15F4B5}"/>
          </ac:spMkLst>
        </pc:spChg>
        <pc:spChg chg="del">
          <ac:chgData name="Kyle Akepanidtaworn" userId="4250081e-2882-4185-9e9c-d3298cc00d78" providerId="ADAL" clId="{E3BEE011-BDE0-4924-857F-571F4CEA325A}" dt="2021-03-11T07:34:11.307" v="321" actId="478"/>
          <ac:spMkLst>
            <pc:docMk/>
            <pc:sldMk cId="2762579071" sldId="2146846409"/>
            <ac:spMk id="206" creationId="{C5E33D6C-764A-497C-9567-2D661045F0CE}"/>
          </ac:spMkLst>
        </pc:spChg>
        <pc:spChg chg="del">
          <ac:chgData name="Kyle Akepanidtaworn" userId="4250081e-2882-4185-9e9c-d3298cc00d78" providerId="ADAL" clId="{E3BEE011-BDE0-4924-857F-571F4CEA325A}" dt="2021-03-11T07:34:11.307" v="321" actId="478"/>
          <ac:spMkLst>
            <pc:docMk/>
            <pc:sldMk cId="2762579071" sldId="2146846409"/>
            <ac:spMk id="207" creationId="{1008D3DB-DFAC-4003-91EF-AD8EF89F9B6D}"/>
          </ac:spMkLst>
        </pc:spChg>
        <pc:spChg chg="del">
          <ac:chgData name="Kyle Akepanidtaworn" userId="4250081e-2882-4185-9e9c-d3298cc00d78" providerId="ADAL" clId="{E3BEE011-BDE0-4924-857F-571F4CEA325A}" dt="2021-03-11T07:34:11.307" v="321" actId="478"/>
          <ac:spMkLst>
            <pc:docMk/>
            <pc:sldMk cId="2762579071" sldId="2146846409"/>
            <ac:spMk id="224" creationId="{55F7A7DF-3AF9-41CA-AA63-A44833F389FA}"/>
          </ac:spMkLst>
        </pc:spChg>
        <pc:spChg chg="del">
          <ac:chgData name="Kyle Akepanidtaworn" userId="4250081e-2882-4185-9e9c-d3298cc00d78" providerId="ADAL" clId="{E3BEE011-BDE0-4924-857F-571F4CEA325A}" dt="2021-03-11T07:34:11.307" v="321" actId="478"/>
          <ac:spMkLst>
            <pc:docMk/>
            <pc:sldMk cId="2762579071" sldId="2146846409"/>
            <ac:spMk id="225" creationId="{2DCF2284-856D-4E55-829A-ACD4CCA1BF2B}"/>
          </ac:spMkLst>
        </pc:spChg>
        <pc:spChg chg="del">
          <ac:chgData name="Kyle Akepanidtaworn" userId="4250081e-2882-4185-9e9c-d3298cc00d78" providerId="ADAL" clId="{E3BEE011-BDE0-4924-857F-571F4CEA325A}" dt="2021-03-11T07:34:11.307" v="321" actId="478"/>
          <ac:spMkLst>
            <pc:docMk/>
            <pc:sldMk cId="2762579071" sldId="2146846409"/>
            <ac:spMk id="226" creationId="{FDC3A451-79F1-46E6-B4C8-983D796D4652}"/>
          </ac:spMkLst>
        </pc:spChg>
        <pc:spChg chg="del">
          <ac:chgData name="Kyle Akepanidtaworn" userId="4250081e-2882-4185-9e9c-d3298cc00d78" providerId="ADAL" clId="{E3BEE011-BDE0-4924-857F-571F4CEA325A}" dt="2021-03-11T07:34:11.307" v="321" actId="478"/>
          <ac:spMkLst>
            <pc:docMk/>
            <pc:sldMk cId="2762579071" sldId="2146846409"/>
            <ac:spMk id="240" creationId="{2D339224-F895-43EA-9FA6-F892744A7F1A}"/>
          </ac:spMkLst>
        </pc:spChg>
        <pc:spChg chg="del">
          <ac:chgData name="Kyle Akepanidtaworn" userId="4250081e-2882-4185-9e9c-d3298cc00d78" providerId="ADAL" clId="{E3BEE011-BDE0-4924-857F-571F4CEA325A}" dt="2021-03-11T07:34:11.307" v="321" actId="478"/>
          <ac:spMkLst>
            <pc:docMk/>
            <pc:sldMk cId="2762579071" sldId="2146846409"/>
            <ac:spMk id="241" creationId="{8985A552-70B9-4BBE-AB85-B6A08ACD2949}"/>
          </ac:spMkLst>
        </pc:spChg>
        <pc:spChg chg="del">
          <ac:chgData name="Kyle Akepanidtaworn" userId="4250081e-2882-4185-9e9c-d3298cc00d78" providerId="ADAL" clId="{E3BEE011-BDE0-4924-857F-571F4CEA325A}" dt="2021-03-11T07:34:11.307" v="321" actId="478"/>
          <ac:spMkLst>
            <pc:docMk/>
            <pc:sldMk cId="2762579071" sldId="2146846409"/>
            <ac:spMk id="253" creationId="{4CA9EDEA-AEB8-4DC7-A112-01FEF539311E}"/>
          </ac:spMkLst>
        </pc:spChg>
        <pc:spChg chg="del">
          <ac:chgData name="Kyle Akepanidtaworn" userId="4250081e-2882-4185-9e9c-d3298cc00d78" providerId="ADAL" clId="{E3BEE011-BDE0-4924-857F-571F4CEA325A}" dt="2021-03-11T07:34:11.307" v="321" actId="478"/>
          <ac:spMkLst>
            <pc:docMk/>
            <pc:sldMk cId="2762579071" sldId="2146846409"/>
            <ac:spMk id="255" creationId="{6AD6F4FF-3CC7-49F9-9857-25E0C181DF3C}"/>
          </ac:spMkLst>
        </pc:spChg>
        <pc:spChg chg="del">
          <ac:chgData name="Kyle Akepanidtaworn" userId="4250081e-2882-4185-9e9c-d3298cc00d78" providerId="ADAL" clId="{E3BEE011-BDE0-4924-857F-571F4CEA325A}" dt="2021-03-11T07:34:11.307" v="321" actId="478"/>
          <ac:spMkLst>
            <pc:docMk/>
            <pc:sldMk cId="2762579071" sldId="2146846409"/>
            <ac:spMk id="263" creationId="{2CBA2B35-4A11-4F78-860C-D93A58D4EF62}"/>
          </ac:spMkLst>
        </pc:spChg>
        <pc:spChg chg="del">
          <ac:chgData name="Kyle Akepanidtaworn" userId="4250081e-2882-4185-9e9c-d3298cc00d78" providerId="ADAL" clId="{E3BEE011-BDE0-4924-857F-571F4CEA325A}" dt="2021-03-11T07:34:11.307" v="321" actId="478"/>
          <ac:spMkLst>
            <pc:docMk/>
            <pc:sldMk cId="2762579071" sldId="2146846409"/>
            <ac:spMk id="264" creationId="{CA08FDB4-FF60-4871-9CD9-915975A30CA6}"/>
          </ac:spMkLst>
        </pc:spChg>
        <pc:spChg chg="del">
          <ac:chgData name="Kyle Akepanidtaworn" userId="4250081e-2882-4185-9e9c-d3298cc00d78" providerId="ADAL" clId="{E3BEE011-BDE0-4924-857F-571F4CEA325A}" dt="2021-03-11T07:34:11.307" v="321" actId="478"/>
          <ac:spMkLst>
            <pc:docMk/>
            <pc:sldMk cId="2762579071" sldId="2146846409"/>
            <ac:spMk id="265" creationId="{5E5D6404-047C-408E-BA5F-54FD42685993}"/>
          </ac:spMkLst>
        </pc:spChg>
        <pc:spChg chg="del">
          <ac:chgData name="Kyle Akepanidtaworn" userId="4250081e-2882-4185-9e9c-d3298cc00d78" providerId="ADAL" clId="{E3BEE011-BDE0-4924-857F-571F4CEA325A}" dt="2021-03-11T07:34:11.307" v="321" actId="478"/>
          <ac:spMkLst>
            <pc:docMk/>
            <pc:sldMk cId="2762579071" sldId="2146846409"/>
            <ac:spMk id="266" creationId="{1CD8B4D7-949D-4EAA-BE8C-5369BFD7EAE2}"/>
          </ac:spMkLst>
        </pc:spChg>
        <pc:spChg chg="del">
          <ac:chgData name="Kyle Akepanidtaworn" userId="4250081e-2882-4185-9e9c-d3298cc00d78" providerId="ADAL" clId="{E3BEE011-BDE0-4924-857F-571F4CEA325A}" dt="2021-03-11T07:34:11.307" v="321" actId="478"/>
          <ac:spMkLst>
            <pc:docMk/>
            <pc:sldMk cId="2762579071" sldId="2146846409"/>
            <ac:spMk id="267" creationId="{2FA31298-F99C-46E1-98A1-335648CFB3D8}"/>
          </ac:spMkLst>
        </pc:spChg>
        <pc:spChg chg="del">
          <ac:chgData name="Kyle Akepanidtaworn" userId="4250081e-2882-4185-9e9c-d3298cc00d78" providerId="ADAL" clId="{E3BEE011-BDE0-4924-857F-571F4CEA325A}" dt="2021-03-11T07:34:11.307" v="321" actId="478"/>
          <ac:spMkLst>
            <pc:docMk/>
            <pc:sldMk cId="2762579071" sldId="2146846409"/>
            <ac:spMk id="269" creationId="{E1093F1D-8571-477E-88D5-5A6C187BB461}"/>
          </ac:spMkLst>
        </pc:spChg>
        <pc:spChg chg="add del mod">
          <ac:chgData name="Kyle Akepanidtaworn" userId="4250081e-2882-4185-9e9c-d3298cc00d78" providerId="ADAL" clId="{E3BEE011-BDE0-4924-857F-571F4CEA325A}" dt="2021-03-11T07:34:35.926" v="323"/>
          <ac:spMkLst>
            <pc:docMk/>
            <pc:sldMk cId="2762579071" sldId="2146846409"/>
            <ac:spMk id="274" creationId="{3E469025-E70F-4A54-A2B2-010395566E3C}"/>
          </ac:spMkLst>
        </pc:spChg>
        <pc:spChg chg="add del mod">
          <ac:chgData name="Kyle Akepanidtaworn" userId="4250081e-2882-4185-9e9c-d3298cc00d78" providerId="ADAL" clId="{E3BEE011-BDE0-4924-857F-571F4CEA325A}" dt="2021-03-11T07:34:35.926" v="323"/>
          <ac:spMkLst>
            <pc:docMk/>
            <pc:sldMk cId="2762579071" sldId="2146846409"/>
            <ac:spMk id="275" creationId="{D3248F69-5E6D-49B4-AFBA-6B8FFFDF38FE}"/>
          </ac:spMkLst>
        </pc:spChg>
        <pc:spChg chg="add del mod">
          <ac:chgData name="Kyle Akepanidtaworn" userId="4250081e-2882-4185-9e9c-d3298cc00d78" providerId="ADAL" clId="{E3BEE011-BDE0-4924-857F-571F4CEA325A}" dt="2021-03-11T07:34:35.926" v="323"/>
          <ac:spMkLst>
            <pc:docMk/>
            <pc:sldMk cId="2762579071" sldId="2146846409"/>
            <ac:spMk id="276" creationId="{5AD9DE12-436C-45AA-BDD8-7ADCBA575060}"/>
          </ac:spMkLst>
        </pc:spChg>
        <pc:spChg chg="add del mod">
          <ac:chgData name="Kyle Akepanidtaworn" userId="4250081e-2882-4185-9e9c-d3298cc00d78" providerId="ADAL" clId="{E3BEE011-BDE0-4924-857F-571F4CEA325A}" dt="2021-03-11T07:34:35.926" v="323"/>
          <ac:spMkLst>
            <pc:docMk/>
            <pc:sldMk cId="2762579071" sldId="2146846409"/>
            <ac:spMk id="277" creationId="{FE95B047-4641-4971-BC11-228ED6504D3E}"/>
          </ac:spMkLst>
        </pc:spChg>
        <pc:spChg chg="add del mod">
          <ac:chgData name="Kyle Akepanidtaworn" userId="4250081e-2882-4185-9e9c-d3298cc00d78" providerId="ADAL" clId="{E3BEE011-BDE0-4924-857F-571F4CEA325A}" dt="2021-03-11T07:34:35.926" v="323"/>
          <ac:spMkLst>
            <pc:docMk/>
            <pc:sldMk cId="2762579071" sldId="2146846409"/>
            <ac:spMk id="278" creationId="{703A7970-7D9E-42E2-84AA-727729D548CE}"/>
          </ac:spMkLst>
        </pc:spChg>
        <pc:spChg chg="add del mod">
          <ac:chgData name="Kyle Akepanidtaworn" userId="4250081e-2882-4185-9e9c-d3298cc00d78" providerId="ADAL" clId="{E3BEE011-BDE0-4924-857F-571F4CEA325A}" dt="2021-03-11T07:34:35.926" v="323"/>
          <ac:spMkLst>
            <pc:docMk/>
            <pc:sldMk cId="2762579071" sldId="2146846409"/>
            <ac:spMk id="279" creationId="{81F76EDF-E88D-466B-BD37-20CA8CA1E24E}"/>
          </ac:spMkLst>
        </pc:spChg>
        <pc:spChg chg="add del mod">
          <ac:chgData name="Kyle Akepanidtaworn" userId="4250081e-2882-4185-9e9c-d3298cc00d78" providerId="ADAL" clId="{E3BEE011-BDE0-4924-857F-571F4CEA325A}" dt="2021-03-11T07:34:35.926" v="323"/>
          <ac:spMkLst>
            <pc:docMk/>
            <pc:sldMk cId="2762579071" sldId="2146846409"/>
            <ac:spMk id="280" creationId="{55EE14DC-4CA4-4682-B8CF-A0DD77B4F1E6}"/>
          </ac:spMkLst>
        </pc:spChg>
        <pc:spChg chg="add del mod">
          <ac:chgData name="Kyle Akepanidtaworn" userId="4250081e-2882-4185-9e9c-d3298cc00d78" providerId="ADAL" clId="{E3BEE011-BDE0-4924-857F-571F4CEA325A}" dt="2021-03-11T07:34:35.926" v="323"/>
          <ac:spMkLst>
            <pc:docMk/>
            <pc:sldMk cId="2762579071" sldId="2146846409"/>
            <ac:spMk id="281" creationId="{D79C5C8C-1918-4444-8E57-8C3D08B1989C}"/>
          </ac:spMkLst>
        </pc:spChg>
        <pc:spChg chg="add del mod">
          <ac:chgData name="Kyle Akepanidtaworn" userId="4250081e-2882-4185-9e9c-d3298cc00d78" providerId="ADAL" clId="{E3BEE011-BDE0-4924-857F-571F4CEA325A}" dt="2021-03-11T07:34:35.926" v="323"/>
          <ac:spMkLst>
            <pc:docMk/>
            <pc:sldMk cId="2762579071" sldId="2146846409"/>
            <ac:spMk id="282" creationId="{C85C451F-AE63-4F90-9E79-3873AD5BE342}"/>
          </ac:spMkLst>
        </pc:spChg>
        <pc:spChg chg="add del mod">
          <ac:chgData name="Kyle Akepanidtaworn" userId="4250081e-2882-4185-9e9c-d3298cc00d78" providerId="ADAL" clId="{E3BEE011-BDE0-4924-857F-571F4CEA325A}" dt="2021-03-11T07:34:35.926" v="323"/>
          <ac:spMkLst>
            <pc:docMk/>
            <pc:sldMk cId="2762579071" sldId="2146846409"/>
            <ac:spMk id="283" creationId="{B16612D5-5554-42CF-A569-F90096408D06}"/>
          </ac:spMkLst>
        </pc:spChg>
        <pc:spChg chg="add del mod">
          <ac:chgData name="Kyle Akepanidtaworn" userId="4250081e-2882-4185-9e9c-d3298cc00d78" providerId="ADAL" clId="{E3BEE011-BDE0-4924-857F-571F4CEA325A}" dt="2021-03-11T07:34:35.926" v="323"/>
          <ac:spMkLst>
            <pc:docMk/>
            <pc:sldMk cId="2762579071" sldId="2146846409"/>
            <ac:spMk id="284" creationId="{4BF480D6-69F0-43AC-90C6-24F8DDD5A832}"/>
          </ac:spMkLst>
        </pc:spChg>
        <pc:spChg chg="add del mod">
          <ac:chgData name="Kyle Akepanidtaworn" userId="4250081e-2882-4185-9e9c-d3298cc00d78" providerId="ADAL" clId="{E3BEE011-BDE0-4924-857F-571F4CEA325A}" dt="2021-03-11T07:34:35.926" v="323"/>
          <ac:spMkLst>
            <pc:docMk/>
            <pc:sldMk cId="2762579071" sldId="2146846409"/>
            <ac:spMk id="285" creationId="{63590CB3-92DA-45C7-8AA2-C05063881EAA}"/>
          </ac:spMkLst>
        </pc:spChg>
        <pc:spChg chg="add del mod">
          <ac:chgData name="Kyle Akepanidtaworn" userId="4250081e-2882-4185-9e9c-d3298cc00d78" providerId="ADAL" clId="{E3BEE011-BDE0-4924-857F-571F4CEA325A}" dt="2021-03-11T07:34:35.926" v="323"/>
          <ac:spMkLst>
            <pc:docMk/>
            <pc:sldMk cId="2762579071" sldId="2146846409"/>
            <ac:spMk id="287" creationId="{3F32F1B2-FB23-4692-AFA1-786A0D80471C}"/>
          </ac:spMkLst>
        </pc:spChg>
        <pc:spChg chg="add del mod">
          <ac:chgData name="Kyle Akepanidtaworn" userId="4250081e-2882-4185-9e9c-d3298cc00d78" providerId="ADAL" clId="{E3BEE011-BDE0-4924-857F-571F4CEA325A}" dt="2021-03-11T07:34:35.926" v="323"/>
          <ac:spMkLst>
            <pc:docMk/>
            <pc:sldMk cId="2762579071" sldId="2146846409"/>
            <ac:spMk id="288" creationId="{455CD3F7-E58A-4F0D-A729-51EAD60557E2}"/>
          </ac:spMkLst>
        </pc:spChg>
        <pc:spChg chg="add del mod">
          <ac:chgData name="Kyle Akepanidtaworn" userId="4250081e-2882-4185-9e9c-d3298cc00d78" providerId="ADAL" clId="{E3BEE011-BDE0-4924-857F-571F4CEA325A}" dt="2021-03-11T07:34:35.926" v="323"/>
          <ac:spMkLst>
            <pc:docMk/>
            <pc:sldMk cId="2762579071" sldId="2146846409"/>
            <ac:spMk id="289" creationId="{E998290B-8C6C-49CF-8045-422C8C4AFF9E}"/>
          </ac:spMkLst>
        </pc:spChg>
        <pc:spChg chg="add del mod">
          <ac:chgData name="Kyle Akepanidtaworn" userId="4250081e-2882-4185-9e9c-d3298cc00d78" providerId="ADAL" clId="{E3BEE011-BDE0-4924-857F-571F4CEA325A}" dt="2021-03-11T07:34:35.926" v="323"/>
          <ac:spMkLst>
            <pc:docMk/>
            <pc:sldMk cId="2762579071" sldId="2146846409"/>
            <ac:spMk id="290" creationId="{A27918E2-5C0E-43FA-A0FA-4F5024AAA4C3}"/>
          </ac:spMkLst>
        </pc:spChg>
        <pc:spChg chg="add del mod">
          <ac:chgData name="Kyle Akepanidtaworn" userId="4250081e-2882-4185-9e9c-d3298cc00d78" providerId="ADAL" clId="{E3BEE011-BDE0-4924-857F-571F4CEA325A}" dt="2021-03-11T07:34:35.926" v="323"/>
          <ac:spMkLst>
            <pc:docMk/>
            <pc:sldMk cId="2762579071" sldId="2146846409"/>
            <ac:spMk id="291" creationId="{2319F904-77EE-4D85-855B-9666E99ED3D7}"/>
          </ac:spMkLst>
        </pc:spChg>
        <pc:spChg chg="add del mod">
          <ac:chgData name="Kyle Akepanidtaworn" userId="4250081e-2882-4185-9e9c-d3298cc00d78" providerId="ADAL" clId="{E3BEE011-BDE0-4924-857F-571F4CEA325A}" dt="2021-03-11T07:34:35.926" v="323"/>
          <ac:spMkLst>
            <pc:docMk/>
            <pc:sldMk cId="2762579071" sldId="2146846409"/>
            <ac:spMk id="292" creationId="{BEEA2BA4-DC12-418F-965A-A3E85942B385}"/>
          </ac:spMkLst>
        </pc:spChg>
        <pc:spChg chg="mod">
          <ac:chgData name="Kyle Akepanidtaworn" userId="4250081e-2882-4185-9e9c-d3298cc00d78" providerId="ADAL" clId="{E3BEE011-BDE0-4924-857F-571F4CEA325A}" dt="2021-03-11T07:34:34.901" v="322"/>
          <ac:spMkLst>
            <pc:docMk/>
            <pc:sldMk cId="2762579071" sldId="2146846409"/>
            <ac:spMk id="294" creationId="{1F192DC9-7D16-4E17-9AFF-1F05AC5EE0A3}"/>
          </ac:spMkLst>
        </pc:spChg>
        <pc:spChg chg="mod">
          <ac:chgData name="Kyle Akepanidtaworn" userId="4250081e-2882-4185-9e9c-d3298cc00d78" providerId="ADAL" clId="{E3BEE011-BDE0-4924-857F-571F4CEA325A}" dt="2021-03-11T07:34:34.901" v="322"/>
          <ac:spMkLst>
            <pc:docMk/>
            <pc:sldMk cId="2762579071" sldId="2146846409"/>
            <ac:spMk id="295" creationId="{3BE1DAE8-5927-41C1-BDC7-7C94F23673A1}"/>
          </ac:spMkLst>
        </pc:spChg>
        <pc:spChg chg="mod">
          <ac:chgData name="Kyle Akepanidtaworn" userId="4250081e-2882-4185-9e9c-d3298cc00d78" providerId="ADAL" clId="{E3BEE011-BDE0-4924-857F-571F4CEA325A}" dt="2021-03-11T07:34:34.901" v="322"/>
          <ac:spMkLst>
            <pc:docMk/>
            <pc:sldMk cId="2762579071" sldId="2146846409"/>
            <ac:spMk id="297" creationId="{3769555D-6BC4-46DD-BA25-1C8B895723DB}"/>
          </ac:spMkLst>
        </pc:spChg>
        <pc:spChg chg="add del mod">
          <ac:chgData name="Kyle Akepanidtaworn" userId="4250081e-2882-4185-9e9c-d3298cc00d78" providerId="ADAL" clId="{E3BEE011-BDE0-4924-857F-571F4CEA325A}" dt="2021-03-11T07:34:35.926" v="323"/>
          <ac:spMkLst>
            <pc:docMk/>
            <pc:sldMk cId="2762579071" sldId="2146846409"/>
            <ac:spMk id="299" creationId="{DDCCF8B8-8D12-4E99-945A-B4975FD3F415}"/>
          </ac:spMkLst>
        </pc:spChg>
        <pc:spChg chg="add del mod">
          <ac:chgData name="Kyle Akepanidtaworn" userId="4250081e-2882-4185-9e9c-d3298cc00d78" providerId="ADAL" clId="{E3BEE011-BDE0-4924-857F-571F4CEA325A}" dt="2021-03-11T07:34:35.926" v="323"/>
          <ac:spMkLst>
            <pc:docMk/>
            <pc:sldMk cId="2762579071" sldId="2146846409"/>
            <ac:spMk id="300" creationId="{43DB2D19-CA67-4260-B2B3-D623AEBC6BDD}"/>
          </ac:spMkLst>
        </pc:spChg>
        <pc:spChg chg="add del mod">
          <ac:chgData name="Kyle Akepanidtaworn" userId="4250081e-2882-4185-9e9c-d3298cc00d78" providerId="ADAL" clId="{E3BEE011-BDE0-4924-857F-571F4CEA325A}" dt="2021-03-11T07:34:35.926" v="323"/>
          <ac:spMkLst>
            <pc:docMk/>
            <pc:sldMk cId="2762579071" sldId="2146846409"/>
            <ac:spMk id="301" creationId="{6935C21E-85FE-46A3-A077-DD1FB52E9F99}"/>
          </ac:spMkLst>
        </pc:spChg>
        <pc:spChg chg="add del mod">
          <ac:chgData name="Kyle Akepanidtaworn" userId="4250081e-2882-4185-9e9c-d3298cc00d78" providerId="ADAL" clId="{E3BEE011-BDE0-4924-857F-571F4CEA325A}" dt="2021-03-11T07:34:35.926" v="323"/>
          <ac:spMkLst>
            <pc:docMk/>
            <pc:sldMk cId="2762579071" sldId="2146846409"/>
            <ac:spMk id="302" creationId="{3D761614-6CAE-4CC2-A6A6-015B1888CF6C}"/>
          </ac:spMkLst>
        </pc:spChg>
        <pc:spChg chg="add del mod">
          <ac:chgData name="Kyle Akepanidtaworn" userId="4250081e-2882-4185-9e9c-d3298cc00d78" providerId="ADAL" clId="{E3BEE011-BDE0-4924-857F-571F4CEA325A}" dt="2021-03-11T07:34:35.926" v="323"/>
          <ac:spMkLst>
            <pc:docMk/>
            <pc:sldMk cId="2762579071" sldId="2146846409"/>
            <ac:spMk id="305" creationId="{849AC96C-442A-47ED-9886-59C1EF14D5F3}"/>
          </ac:spMkLst>
        </pc:spChg>
        <pc:spChg chg="add del mod">
          <ac:chgData name="Kyle Akepanidtaworn" userId="4250081e-2882-4185-9e9c-d3298cc00d78" providerId="ADAL" clId="{E3BEE011-BDE0-4924-857F-571F4CEA325A}" dt="2021-03-11T07:34:35.926" v="323"/>
          <ac:spMkLst>
            <pc:docMk/>
            <pc:sldMk cId="2762579071" sldId="2146846409"/>
            <ac:spMk id="306" creationId="{159FDA8F-541E-4145-AC69-3274B9420141}"/>
          </ac:spMkLst>
        </pc:spChg>
        <pc:spChg chg="add del mod">
          <ac:chgData name="Kyle Akepanidtaworn" userId="4250081e-2882-4185-9e9c-d3298cc00d78" providerId="ADAL" clId="{E3BEE011-BDE0-4924-857F-571F4CEA325A}" dt="2021-03-11T07:34:35.926" v="323"/>
          <ac:spMkLst>
            <pc:docMk/>
            <pc:sldMk cId="2762579071" sldId="2146846409"/>
            <ac:spMk id="307" creationId="{317ED402-DE10-4E57-9E1B-DB78AC67FE2C}"/>
          </ac:spMkLst>
        </pc:spChg>
        <pc:spChg chg="add del mod">
          <ac:chgData name="Kyle Akepanidtaworn" userId="4250081e-2882-4185-9e9c-d3298cc00d78" providerId="ADAL" clId="{E3BEE011-BDE0-4924-857F-571F4CEA325A}" dt="2021-03-11T07:34:35.926" v="323"/>
          <ac:spMkLst>
            <pc:docMk/>
            <pc:sldMk cId="2762579071" sldId="2146846409"/>
            <ac:spMk id="308" creationId="{58304C7B-A763-49C0-B994-9BD38EC7ACC7}"/>
          </ac:spMkLst>
        </pc:spChg>
        <pc:spChg chg="add del mod">
          <ac:chgData name="Kyle Akepanidtaworn" userId="4250081e-2882-4185-9e9c-d3298cc00d78" providerId="ADAL" clId="{E3BEE011-BDE0-4924-857F-571F4CEA325A}" dt="2021-03-11T07:34:35.926" v="323"/>
          <ac:spMkLst>
            <pc:docMk/>
            <pc:sldMk cId="2762579071" sldId="2146846409"/>
            <ac:spMk id="309" creationId="{EEBB61DB-8F33-480B-99A6-345A65A58EDD}"/>
          </ac:spMkLst>
        </pc:spChg>
        <pc:spChg chg="add del mod">
          <ac:chgData name="Kyle Akepanidtaworn" userId="4250081e-2882-4185-9e9c-d3298cc00d78" providerId="ADAL" clId="{E3BEE011-BDE0-4924-857F-571F4CEA325A}" dt="2021-03-11T07:34:35.926" v="323"/>
          <ac:spMkLst>
            <pc:docMk/>
            <pc:sldMk cId="2762579071" sldId="2146846409"/>
            <ac:spMk id="311" creationId="{A64492B4-4350-41CC-BBD1-382D5F1FBDE9}"/>
          </ac:spMkLst>
        </pc:spChg>
        <pc:spChg chg="add del mod">
          <ac:chgData name="Kyle Akepanidtaworn" userId="4250081e-2882-4185-9e9c-d3298cc00d78" providerId="ADAL" clId="{E3BEE011-BDE0-4924-857F-571F4CEA325A}" dt="2021-03-11T07:34:35.926" v="323"/>
          <ac:spMkLst>
            <pc:docMk/>
            <pc:sldMk cId="2762579071" sldId="2146846409"/>
            <ac:spMk id="312" creationId="{CAA7598F-3578-4D4F-9EDC-B44A780EF14F}"/>
          </ac:spMkLst>
        </pc:spChg>
        <pc:spChg chg="add del mod">
          <ac:chgData name="Kyle Akepanidtaworn" userId="4250081e-2882-4185-9e9c-d3298cc00d78" providerId="ADAL" clId="{E3BEE011-BDE0-4924-857F-571F4CEA325A}" dt="2021-03-11T07:34:35.926" v="323"/>
          <ac:spMkLst>
            <pc:docMk/>
            <pc:sldMk cId="2762579071" sldId="2146846409"/>
            <ac:spMk id="313" creationId="{051FEF32-F920-4A45-8776-8E77DFAE2133}"/>
          </ac:spMkLst>
        </pc:spChg>
        <pc:spChg chg="add del mod">
          <ac:chgData name="Kyle Akepanidtaworn" userId="4250081e-2882-4185-9e9c-d3298cc00d78" providerId="ADAL" clId="{E3BEE011-BDE0-4924-857F-571F4CEA325A}" dt="2021-03-11T07:34:35.926" v="323"/>
          <ac:spMkLst>
            <pc:docMk/>
            <pc:sldMk cId="2762579071" sldId="2146846409"/>
            <ac:spMk id="314" creationId="{3DF60D04-BE5C-4DAF-B23C-746C6C127C69}"/>
          </ac:spMkLst>
        </pc:spChg>
        <pc:spChg chg="add del mod">
          <ac:chgData name="Kyle Akepanidtaworn" userId="4250081e-2882-4185-9e9c-d3298cc00d78" providerId="ADAL" clId="{E3BEE011-BDE0-4924-857F-571F4CEA325A}" dt="2021-03-11T07:34:35.926" v="323"/>
          <ac:spMkLst>
            <pc:docMk/>
            <pc:sldMk cId="2762579071" sldId="2146846409"/>
            <ac:spMk id="315" creationId="{55DDAB40-3DAF-478D-BD21-7F86EA4BC5E2}"/>
          </ac:spMkLst>
        </pc:spChg>
        <pc:spChg chg="add del mod">
          <ac:chgData name="Kyle Akepanidtaworn" userId="4250081e-2882-4185-9e9c-d3298cc00d78" providerId="ADAL" clId="{E3BEE011-BDE0-4924-857F-571F4CEA325A}" dt="2021-03-11T07:34:35.926" v="323"/>
          <ac:spMkLst>
            <pc:docMk/>
            <pc:sldMk cId="2762579071" sldId="2146846409"/>
            <ac:spMk id="317" creationId="{17E248EF-8CC9-4338-9040-C751149D1DA9}"/>
          </ac:spMkLst>
        </pc:spChg>
        <pc:spChg chg="add del mod">
          <ac:chgData name="Kyle Akepanidtaworn" userId="4250081e-2882-4185-9e9c-d3298cc00d78" providerId="ADAL" clId="{E3BEE011-BDE0-4924-857F-571F4CEA325A}" dt="2021-03-11T07:34:35.926" v="323"/>
          <ac:spMkLst>
            <pc:docMk/>
            <pc:sldMk cId="2762579071" sldId="2146846409"/>
            <ac:spMk id="319" creationId="{E672079C-04DD-47A3-BB3B-FD4092263E35}"/>
          </ac:spMkLst>
        </pc:spChg>
        <pc:spChg chg="add del mod">
          <ac:chgData name="Kyle Akepanidtaworn" userId="4250081e-2882-4185-9e9c-d3298cc00d78" providerId="ADAL" clId="{E3BEE011-BDE0-4924-857F-571F4CEA325A}" dt="2021-03-11T07:34:35.926" v="323"/>
          <ac:spMkLst>
            <pc:docMk/>
            <pc:sldMk cId="2762579071" sldId="2146846409"/>
            <ac:spMk id="321" creationId="{003F6DFB-A9EA-469E-83EB-D5DAFC4BBE68}"/>
          </ac:spMkLst>
        </pc:spChg>
        <pc:spChg chg="add del mod">
          <ac:chgData name="Kyle Akepanidtaworn" userId="4250081e-2882-4185-9e9c-d3298cc00d78" providerId="ADAL" clId="{E3BEE011-BDE0-4924-857F-571F4CEA325A}" dt="2021-03-11T07:34:35.926" v="323"/>
          <ac:spMkLst>
            <pc:docMk/>
            <pc:sldMk cId="2762579071" sldId="2146846409"/>
            <ac:spMk id="322" creationId="{E39537CA-DB54-4EF0-B229-FAB477C56A33}"/>
          </ac:spMkLst>
        </pc:spChg>
        <pc:spChg chg="add del mod">
          <ac:chgData name="Kyle Akepanidtaworn" userId="4250081e-2882-4185-9e9c-d3298cc00d78" providerId="ADAL" clId="{E3BEE011-BDE0-4924-857F-571F4CEA325A}" dt="2021-03-11T07:34:35.926" v="323"/>
          <ac:spMkLst>
            <pc:docMk/>
            <pc:sldMk cId="2762579071" sldId="2146846409"/>
            <ac:spMk id="323" creationId="{2057909E-E828-4C34-9185-7279C524CFE6}"/>
          </ac:spMkLst>
        </pc:spChg>
        <pc:spChg chg="add del mod">
          <ac:chgData name="Kyle Akepanidtaworn" userId="4250081e-2882-4185-9e9c-d3298cc00d78" providerId="ADAL" clId="{E3BEE011-BDE0-4924-857F-571F4CEA325A}" dt="2021-03-11T07:34:35.926" v="323"/>
          <ac:spMkLst>
            <pc:docMk/>
            <pc:sldMk cId="2762579071" sldId="2146846409"/>
            <ac:spMk id="326" creationId="{5CC664CA-4628-4326-99A2-94A2120FD4A5}"/>
          </ac:spMkLst>
        </pc:spChg>
        <pc:spChg chg="add del mod">
          <ac:chgData name="Kyle Akepanidtaworn" userId="4250081e-2882-4185-9e9c-d3298cc00d78" providerId="ADAL" clId="{E3BEE011-BDE0-4924-857F-571F4CEA325A}" dt="2021-03-11T07:34:35.926" v="323"/>
          <ac:spMkLst>
            <pc:docMk/>
            <pc:sldMk cId="2762579071" sldId="2146846409"/>
            <ac:spMk id="327" creationId="{1BF8C58D-B42A-4DDF-A778-F3E7CB65D247}"/>
          </ac:spMkLst>
        </pc:spChg>
        <pc:spChg chg="mod">
          <ac:chgData name="Kyle Akepanidtaworn" userId="4250081e-2882-4185-9e9c-d3298cc00d78" providerId="ADAL" clId="{E3BEE011-BDE0-4924-857F-571F4CEA325A}" dt="2021-03-11T07:34:34.901" v="322"/>
          <ac:spMkLst>
            <pc:docMk/>
            <pc:sldMk cId="2762579071" sldId="2146846409"/>
            <ac:spMk id="329" creationId="{5FF8D190-61B7-426F-BA9D-377C4745DE56}"/>
          </ac:spMkLst>
        </pc:spChg>
        <pc:spChg chg="mod">
          <ac:chgData name="Kyle Akepanidtaworn" userId="4250081e-2882-4185-9e9c-d3298cc00d78" providerId="ADAL" clId="{E3BEE011-BDE0-4924-857F-571F4CEA325A}" dt="2021-03-11T07:34:34.901" v="322"/>
          <ac:spMkLst>
            <pc:docMk/>
            <pc:sldMk cId="2762579071" sldId="2146846409"/>
            <ac:spMk id="330" creationId="{4C1F02EE-C349-4750-ACA4-156EF270BE42}"/>
          </ac:spMkLst>
        </pc:spChg>
        <pc:spChg chg="mod">
          <ac:chgData name="Kyle Akepanidtaworn" userId="4250081e-2882-4185-9e9c-d3298cc00d78" providerId="ADAL" clId="{E3BEE011-BDE0-4924-857F-571F4CEA325A}" dt="2021-03-11T07:34:34.901" v="322"/>
          <ac:spMkLst>
            <pc:docMk/>
            <pc:sldMk cId="2762579071" sldId="2146846409"/>
            <ac:spMk id="331" creationId="{3B132A37-EC7C-4701-AB72-2310DBF3EB36}"/>
          </ac:spMkLst>
        </pc:spChg>
        <pc:spChg chg="add del mod">
          <ac:chgData name="Kyle Akepanidtaworn" userId="4250081e-2882-4185-9e9c-d3298cc00d78" providerId="ADAL" clId="{E3BEE011-BDE0-4924-857F-571F4CEA325A}" dt="2021-03-11T07:34:35.926" v="323"/>
          <ac:spMkLst>
            <pc:docMk/>
            <pc:sldMk cId="2762579071" sldId="2146846409"/>
            <ac:spMk id="332" creationId="{06EB079B-E749-4CFE-B5D1-0B6D35A07238}"/>
          </ac:spMkLst>
        </pc:spChg>
        <pc:spChg chg="add del mod">
          <ac:chgData name="Kyle Akepanidtaworn" userId="4250081e-2882-4185-9e9c-d3298cc00d78" providerId="ADAL" clId="{E3BEE011-BDE0-4924-857F-571F4CEA325A}" dt="2021-03-11T07:34:35.926" v="323"/>
          <ac:spMkLst>
            <pc:docMk/>
            <pc:sldMk cId="2762579071" sldId="2146846409"/>
            <ac:spMk id="333" creationId="{20D3BB16-EBBF-4708-85FB-6029A110C6D9}"/>
          </ac:spMkLst>
        </pc:spChg>
        <pc:spChg chg="add del mod">
          <ac:chgData name="Kyle Akepanidtaworn" userId="4250081e-2882-4185-9e9c-d3298cc00d78" providerId="ADAL" clId="{E3BEE011-BDE0-4924-857F-571F4CEA325A}" dt="2021-03-11T07:34:35.926" v="323"/>
          <ac:spMkLst>
            <pc:docMk/>
            <pc:sldMk cId="2762579071" sldId="2146846409"/>
            <ac:spMk id="334" creationId="{24149B44-5FA9-4ABC-8E44-4080A96F8F19}"/>
          </ac:spMkLst>
        </pc:spChg>
        <pc:spChg chg="add del mod">
          <ac:chgData name="Kyle Akepanidtaworn" userId="4250081e-2882-4185-9e9c-d3298cc00d78" providerId="ADAL" clId="{E3BEE011-BDE0-4924-857F-571F4CEA325A}" dt="2021-03-11T07:34:35.926" v="323"/>
          <ac:spMkLst>
            <pc:docMk/>
            <pc:sldMk cId="2762579071" sldId="2146846409"/>
            <ac:spMk id="335" creationId="{477CBA87-B6C0-4980-B048-49D26CB5596D}"/>
          </ac:spMkLst>
        </pc:spChg>
        <pc:spChg chg="add del mod">
          <ac:chgData name="Kyle Akepanidtaworn" userId="4250081e-2882-4185-9e9c-d3298cc00d78" providerId="ADAL" clId="{E3BEE011-BDE0-4924-857F-571F4CEA325A}" dt="2021-03-11T07:34:35.926" v="323"/>
          <ac:spMkLst>
            <pc:docMk/>
            <pc:sldMk cId="2762579071" sldId="2146846409"/>
            <ac:spMk id="336" creationId="{B2950589-AD58-4060-9C85-E7BFAC7C4783}"/>
          </ac:spMkLst>
        </pc:spChg>
        <pc:spChg chg="add del mod">
          <ac:chgData name="Kyle Akepanidtaworn" userId="4250081e-2882-4185-9e9c-d3298cc00d78" providerId="ADAL" clId="{E3BEE011-BDE0-4924-857F-571F4CEA325A}" dt="2021-03-11T07:34:35.926" v="323"/>
          <ac:spMkLst>
            <pc:docMk/>
            <pc:sldMk cId="2762579071" sldId="2146846409"/>
            <ac:spMk id="338" creationId="{4D3F1A63-2BD1-4F6F-9B6D-7D5F63EEB7CB}"/>
          </ac:spMkLst>
        </pc:spChg>
        <pc:spChg chg="add del mod">
          <ac:chgData name="Kyle Akepanidtaworn" userId="4250081e-2882-4185-9e9c-d3298cc00d78" providerId="ADAL" clId="{E3BEE011-BDE0-4924-857F-571F4CEA325A}" dt="2021-03-11T07:34:35.926" v="323"/>
          <ac:spMkLst>
            <pc:docMk/>
            <pc:sldMk cId="2762579071" sldId="2146846409"/>
            <ac:spMk id="339" creationId="{E9FD1CFA-881D-4160-941B-03B0058C3552}"/>
          </ac:spMkLst>
        </pc:spChg>
        <pc:spChg chg="add del mod">
          <ac:chgData name="Kyle Akepanidtaworn" userId="4250081e-2882-4185-9e9c-d3298cc00d78" providerId="ADAL" clId="{E3BEE011-BDE0-4924-857F-571F4CEA325A}" dt="2021-03-11T07:34:35.926" v="323"/>
          <ac:spMkLst>
            <pc:docMk/>
            <pc:sldMk cId="2762579071" sldId="2146846409"/>
            <ac:spMk id="340" creationId="{8BC0E969-08F8-4393-A21C-DCD459EE3B41}"/>
          </ac:spMkLst>
        </pc:spChg>
        <pc:spChg chg="add del mod">
          <ac:chgData name="Kyle Akepanidtaworn" userId="4250081e-2882-4185-9e9c-d3298cc00d78" providerId="ADAL" clId="{E3BEE011-BDE0-4924-857F-571F4CEA325A}" dt="2021-03-11T07:34:35.926" v="323"/>
          <ac:spMkLst>
            <pc:docMk/>
            <pc:sldMk cId="2762579071" sldId="2146846409"/>
            <ac:spMk id="341" creationId="{F939A2D3-5844-4E76-860B-77FE28FC6A8F}"/>
          </ac:spMkLst>
        </pc:spChg>
        <pc:spChg chg="add mod">
          <ac:chgData name="Kyle Akepanidtaworn" userId="4250081e-2882-4185-9e9c-d3298cc00d78" providerId="ADAL" clId="{E3BEE011-BDE0-4924-857F-571F4CEA325A}" dt="2021-03-11T07:35:25.816" v="331" actId="1076"/>
          <ac:spMkLst>
            <pc:docMk/>
            <pc:sldMk cId="2762579071" sldId="2146846409"/>
            <ac:spMk id="342" creationId="{6C84C8E9-F02B-4662-B8A1-9B5149D32C1F}"/>
          </ac:spMkLst>
        </pc:spChg>
        <pc:spChg chg="add mod">
          <ac:chgData name="Kyle Akepanidtaworn" userId="4250081e-2882-4185-9e9c-d3298cc00d78" providerId="ADAL" clId="{E3BEE011-BDE0-4924-857F-571F4CEA325A}" dt="2021-03-11T07:35:25.816" v="331" actId="1076"/>
          <ac:spMkLst>
            <pc:docMk/>
            <pc:sldMk cId="2762579071" sldId="2146846409"/>
            <ac:spMk id="343" creationId="{5F470F01-E656-41CF-8214-A40B1CCDCFCE}"/>
          </ac:spMkLst>
        </pc:spChg>
        <pc:spChg chg="add mod">
          <ac:chgData name="Kyle Akepanidtaworn" userId="4250081e-2882-4185-9e9c-d3298cc00d78" providerId="ADAL" clId="{E3BEE011-BDE0-4924-857F-571F4CEA325A}" dt="2021-03-11T07:35:25.816" v="331" actId="1076"/>
          <ac:spMkLst>
            <pc:docMk/>
            <pc:sldMk cId="2762579071" sldId="2146846409"/>
            <ac:spMk id="344" creationId="{3F26284E-287C-45CE-BE3B-9A9150294051}"/>
          </ac:spMkLst>
        </pc:spChg>
        <pc:spChg chg="add mod">
          <ac:chgData name="Kyle Akepanidtaworn" userId="4250081e-2882-4185-9e9c-d3298cc00d78" providerId="ADAL" clId="{E3BEE011-BDE0-4924-857F-571F4CEA325A}" dt="2021-03-11T07:35:25.816" v="331" actId="1076"/>
          <ac:spMkLst>
            <pc:docMk/>
            <pc:sldMk cId="2762579071" sldId="2146846409"/>
            <ac:spMk id="345" creationId="{AA71F304-2FE3-4257-82D7-6CD0854697D8}"/>
          </ac:spMkLst>
        </pc:spChg>
        <pc:spChg chg="add mod">
          <ac:chgData name="Kyle Akepanidtaworn" userId="4250081e-2882-4185-9e9c-d3298cc00d78" providerId="ADAL" clId="{E3BEE011-BDE0-4924-857F-571F4CEA325A}" dt="2021-03-11T07:35:25.816" v="331" actId="1076"/>
          <ac:spMkLst>
            <pc:docMk/>
            <pc:sldMk cId="2762579071" sldId="2146846409"/>
            <ac:spMk id="346" creationId="{9E17F711-7062-4294-9FE1-915D558C5AF2}"/>
          </ac:spMkLst>
        </pc:spChg>
        <pc:spChg chg="add mod">
          <ac:chgData name="Kyle Akepanidtaworn" userId="4250081e-2882-4185-9e9c-d3298cc00d78" providerId="ADAL" clId="{E3BEE011-BDE0-4924-857F-571F4CEA325A}" dt="2021-03-11T07:35:25.816" v="331" actId="1076"/>
          <ac:spMkLst>
            <pc:docMk/>
            <pc:sldMk cId="2762579071" sldId="2146846409"/>
            <ac:spMk id="347" creationId="{F5AA7A59-428F-44A9-836E-9C3D7B6B3F81}"/>
          </ac:spMkLst>
        </pc:spChg>
        <pc:spChg chg="add mod">
          <ac:chgData name="Kyle Akepanidtaworn" userId="4250081e-2882-4185-9e9c-d3298cc00d78" providerId="ADAL" clId="{E3BEE011-BDE0-4924-857F-571F4CEA325A}" dt="2021-03-11T07:35:25.816" v="331" actId="1076"/>
          <ac:spMkLst>
            <pc:docMk/>
            <pc:sldMk cId="2762579071" sldId="2146846409"/>
            <ac:spMk id="348" creationId="{5C4546D2-C4DC-48A5-A403-E8B3429D4841}"/>
          </ac:spMkLst>
        </pc:spChg>
        <pc:spChg chg="add mod">
          <ac:chgData name="Kyle Akepanidtaworn" userId="4250081e-2882-4185-9e9c-d3298cc00d78" providerId="ADAL" clId="{E3BEE011-BDE0-4924-857F-571F4CEA325A}" dt="2021-03-11T07:35:25.816" v="331" actId="1076"/>
          <ac:spMkLst>
            <pc:docMk/>
            <pc:sldMk cId="2762579071" sldId="2146846409"/>
            <ac:spMk id="349" creationId="{2EAA7EEA-DE89-47F6-89AC-F638F2EF3095}"/>
          </ac:spMkLst>
        </pc:spChg>
        <pc:spChg chg="add mod">
          <ac:chgData name="Kyle Akepanidtaworn" userId="4250081e-2882-4185-9e9c-d3298cc00d78" providerId="ADAL" clId="{E3BEE011-BDE0-4924-857F-571F4CEA325A}" dt="2021-03-11T07:35:25.816" v="331" actId="1076"/>
          <ac:spMkLst>
            <pc:docMk/>
            <pc:sldMk cId="2762579071" sldId="2146846409"/>
            <ac:spMk id="350" creationId="{BFF68636-5473-4CBD-BC9F-29D77860453F}"/>
          </ac:spMkLst>
        </pc:spChg>
        <pc:spChg chg="add mod">
          <ac:chgData name="Kyle Akepanidtaworn" userId="4250081e-2882-4185-9e9c-d3298cc00d78" providerId="ADAL" clId="{E3BEE011-BDE0-4924-857F-571F4CEA325A}" dt="2021-03-11T07:35:25.816" v="331" actId="1076"/>
          <ac:spMkLst>
            <pc:docMk/>
            <pc:sldMk cId="2762579071" sldId="2146846409"/>
            <ac:spMk id="351" creationId="{01CB3020-2732-42A8-8316-D2B8EF6BA964}"/>
          </ac:spMkLst>
        </pc:spChg>
        <pc:spChg chg="add mod">
          <ac:chgData name="Kyle Akepanidtaworn" userId="4250081e-2882-4185-9e9c-d3298cc00d78" providerId="ADAL" clId="{E3BEE011-BDE0-4924-857F-571F4CEA325A}" dt="2021-03-11T07:35:25.816" v="331" actId="1076"/>
          <ac:spMkLst>
            <pc:docMk/>
            <pc:sldMk cId="2762579071" sldId="2146846409"/>
            <ac:spMk id="352" creationId="{98D5CDF0-4EF0-42BD-A812-FC6326C8856E}"/>
          </ac:spMkLst>
        </pc:spChg>
        <pc:spChg chg="add mod">
          <ac:chgData name="Kyle Akepanidtaworn" userId="4250081e-2882-4185-9e9c-d3298cc00d78" providerId="ADAL" clId="{E3BEE011-BDE0-4924-857F-571F4CEA325A}" dt="2021-03-11T07:35:25.816" v="331" actId="1076"/>
          <ac:spMkLst>
            <pc:docMk/>
            <pc:sldMk cId="2762579071" sldId="2146846409"/>
            <ac:spMk id="353" creationId="{D6C6E50E-E1A5-4131-989A-2BEA5C62D2E7}"/>
          </ac:spMkLst>
        </pc:spChg>
        <pc:spChg chg="add mod">
          <ac:chgData name="Kyle Akepanidtaworn" userId="4250081e-2882-4185-9e9c-d3298cc00d78" providerId="ADAL" clId="{E3BEE011-BDE0-4924-857F-571F4CEA325A}" dt="2021-03-11T07:35:25.816" v="331" actId="1076"/>
          <ac:spMkLst>
            <pc:docMk/>
            <pc:sldMk cId="2762579071" sldId="2146846409"/>
            <ac:spMk id="354" creationId="{D947E78A-4EA2-4BEE-846F-D3AFCAB285D8}"/>
          </ac:spMkLst>
        </pc:spChg>
        <pc:spChg chg="add mod">
          <ac:chgData name="Kyle Akepanidtaworn" userId="4250081e-2882-4185-9e9c-d3298cc00d78" providerId="ADAL" clId="{E3BEE011-BDE0-4924-857F-571F4CEA325A}" dt="2021-03-11T07:35:25.816" v="331" actId="1076"/>
          <ac:spMkLst>
            <pc:docMk/>
            <pc:sldMk cId="2762579071" sldId="2146846409"/>
            <ac:spMk id="356" creationId="{43796AFE-60B3-4E42-A257-D866931FFDD4}"/>
          </ac:spMkLst>
        </pc:spChg>
        <pc:spChg chg="add mod">
          <ac:chgData name="Kyle Akepanidtaworn" userId="4250081e-2882-4185-9e9c-d3298cc00d78" providerId="ADAL" clId="{E3BEE011-BDE0-4924-857F-571F4CEA325A}" dt="2021-03-11T07:35:25.816" v="331" actId="1076"/>
          <ac:spMkLst>
            <pc:docMk/>
            <pc:sldMk cId="2762579071" sldId="2146846409"/>
            <ac:spMk id="357" creationId="{201B94F0-6F07-4359-ADAD-69805746FB67}"/>
          </ac:spMkLst>
        </pc:spChg>
        <pc:spChg chg="add mod">
          <ac:chgData name="Kyle Akepanidtaworn" userId="4250081e-2882-4185-9e9c-d3298cc00d78" providerId="ADAL" clId="{E3BEE011-BDE0-4924-857F-571F4CEA325A}" dt="2021-03-11T07:35:25.816" v="331" actId="1076"/>
          <ac:spMkLst>
            <pc:docMk/>
            <pc:sldMk cId="2762579071" sldId="2146846409"/>
            <ac:spMk id="358" creationId="{9FA4CE44-18BC-49AB-AF76-7E72F4A7C9FD}"/>
          </ac:spMkLst>
        </pc:spChg>
        <pc:spChg chg="add mod">
          <ac:chgData name="Kyle Akepanidtaworn" userId="4250081e-2882-4185-9e9c-d3298cc00d78" providerId="ADAL" clId="{E3BEE011-BDE0-4924-857F-571F4CEA325A}" dt="2021-03-11T07:35:25.816" v="331" actId="1076"/>
          <ac:spMkLst>
            <pc:docMk/>
            <pc:sldMk cId="2762579071" sldId="2146846409"/>
            <ac:spMk id="359" creationId="{36F97A8A-23D5-4138-A19D-85D92522A932}"/>
          </ac:spMkLst>
        </pc:spChg>
        <pc:spChg chg="add mod">
          <ac:chgData name="Kyle Akepanidtaworn" userId="4250081e-2882-4185-9e9c-d3298cc00d78" providerId="ADAL" clId="{E3BEE011-BDE0-4924-857F-571F4CEA325A}" dt="2021-03-11T07:35:25.816" v="331" actId="1076"/>
          <ac:spMkLst>
            <pc:docMk/>
            <pc:sldMk cId="2762579071" sldId="2146846409"/>
            <ac:spMk id="360" creationId="{825370B0-2FAE-4DF5-A7B6-EE894564C020}"/>
          </ac:spMkLst>
        </pc:spChg>
        <pc:spChg chg="add mod">
          <ac:chgData name="Kyle Akepanidtaworn" userId="4250081e-2882-4185-9e9c-d3298cc00d78" providerId="ADAL" clId="{E3BEE011-BDE0-4924-857F-571F4CEA325A}" dt="2021-03-11T07:35:25.816" v="331" actId="1076"/>
          <ac:spMkLst>
            <pc:docMk/>
            <pc:sldMk cId="2762579071" sldId="2146846409"/>
            <ac:spMk id="361" creationId="{D51780CF-895F-490B-86CE-713871096CB7}"/>
          </ac:spMkLst>
        </pc:spChg>
        <pc:spChg chg="mod">
          <ac:chgData name="Kyle Akepanidtaworn" userId="4250081e-2882-4185-9e9c-d3298cc00d78" providerId="ADAL" clId="{E3BEE011-BDE0-4924-857F-571F4CEA325A}" dt="2021-03-11T07:35:25.816" v="331" actId="1076"/>
          <ac:spMkLst>
            <pc:docMk/>
            <pc:sldMk cId="2762579071" sldId="2146846409"/>
            <ac:spMk id="363" creationId="{138DC8A3-BA69-47AD-8929-4D4D7F9DE524}"/>
          </ac:spMkLst>
        </pc:spChg>
        <pc:spChg chg="mod">
          <ac:chgData name="Kyle Akepanidtaworn" userId="4250081e-2882-4185-9e9c-d3298cc00d78" providerId="ADAL" clId="{E3BEE011-BDE0-4924-857F-571F4CEA325A}" dt="2021-03-11T07:35:25.816" v="331" actId="1076"/>
          <ac:spMkLst>
            <pc:docMk/>
            <pc:sldMk cId="2762579071" sldId="2146846409"/>
            <ac:spMk id="364" creationId="{9F8E9137-AD3C-4294-AA41-56FF8940BE7F}"/>
          </ac:spMkLst>
        </pc:spChg>
        <pc:spChg chg="mod">
          <ac:chgData name="Kyle Akepanidtaworn" userId="4250081e-2882-4185-9e9c-d3298cc00d78" providerId="ADAL" clId="{E3BEE011-BDE0-4924-857F-571F4CEA325A}" dt="2021-03-11T07:35:25.816" v="331" actId="1076"/>
          <ac:spMkLst>
            <pc:docMk/>
            <pc:sldMk cId="2762579071" sldId="2146846409"/>
            <ac:spMk id="366" creationId="{ED738AC4-1663-4F63-B6C7-F1BDCC7DD29C}"/>
          </ac:spMkLst>
        </pc:spChg>
        <pc:spChg chg="add mod">
          <ac:chgData name="Kyle Akepanidtaworn" userId="4250081e-2882-4185-9e9c-d3298cc00d78" providerId="ADAL" clId="{E3BEE011-BDE0-4924-857F-571F4CEA325A}" dt="2021-03-11T07:35:25.816" v="331" actId="1076"/>
          <ac:spMkLst>
            <pc:docMk/>
            <pc:sldMk cId="2762579071" sldId="2146846409"/>
            <ac:spMk id="368" creationId="{202D8931-5F0E-46B7-A7EE-4BAA1614FDE1}"/>
          </ac:spMkLst>
        </pc:spChg>
        <pc:spChg chg="add mod">
          <ac:chgData name="Kyle Akepanidtaworn" userId="4250081e-2882-4185-9e9c-d3298cc00d78" providerId="ADAL" clId="{E3BEE011-BDE0-4924-857F-571F4CEA325A}" dt="2021-03-11T07:35:25.816" v="331" actId="1076"/>
          <ac:spMkLst>
            <pc:docMk/>
            <pc:sldMk cId="2762579071" sldId="2146846409"/>
            <ac:spMk id="369" creationId="{79B2AF19-0E9A-4DB2-906C-2AEDBD56BA17}"/>
          </ac:spMkLst>
        </pc:spChg>
        <pc:spChg chg="add mod">
          <ac:chgData name="Kyle Akepanidtaworn" userId="4250081e-2882-4185-9e9c-d3298cc00d78" providerId="ADAL" clId="{E3BEE011-BDE0-4924-857F-571F4CEA325A}" dt="2021-03-11T07:35:25.816" v="331" actId="1076"/>
          <ac:spMkLst>
            <pc:docMk/>
            <pc:sldMk cId="2762579071" sldId="2146846409"/>
            <ac:spMk id="370" creationId="{A3BDBF95-9A73-4F40-AB13-0715C9DD974E}"/>
          </ac:spMkLst>
        </pc:spChg>
        <pc:spChg chg="add mod">
          <ac:chgData name="Kyle Akepanidtaworn" userId="4250081e-2882-4185-9e9c-d3298cc00d78" providerId="ADAL" clId="{E3BEE011-BDE0-4924-857F-571F4CEA325A}" dt="2021-03-11T07:35:25.816" v="331" actId="1076"/>
          <ac:spMkLst>
            <pc:docMk/>
            <pc:sldMk cId="2762579071" sldId="2146846409"/>
            <ac:spMk id="371" creationId="{2EA07D12-9E35-4A3D-B1BD-94CFF2E7B0A5}"/>
          </ac:spMkLst>
        </pc:spChg>
        <pc:spChg chg="add mod">
          <ac:chgData name="Kyle Akepanidtaworn" userId="4250081e-2882-4185-9e9c-d3298cc00d78" providerId="ADAL" clId="{E3BEE011-BDE0-4924-857F-571F4CEA325A}" dt="2021-03-11T07:35:25.816" v="331" actId="1076"/>
          <ac:spMkLst>
            <pc:docMk/>
            <pc:sldMk cId="2762579071" sldId="2146846409"/>
            <ac:spMk id="374" creationId="{6D152FDC-427F-4D16-87AF-CEDE52B62E65}"/>
          </ac:spMkLst>
        </pc:spChg>
        <pc:spChg chg="add mod">
          <ac:chgData name="Kyle Akepanidtaworn" userId="4250081e-2882-4185-9e9c-d3298cc00d78" providerId="ADAL" clId="{E3BEE011-BDE0-4924-857F-571F4CEA325A}" dt="2021-03-11T07:36:30.866" v="339" actId="14100"/>
          <ac:spMkLst>
            <pc:docMk/>
            <pc:sldMk cId="2762579071" sldId="2146846409"/>
            <ac:spMk id="375" creationId="{C5C7CFD7-0180-449B-BF0F-F5AE7BC72423}"/>
          </ac:spMkLst>
        </pc:spChg>
        <pc:spChg chg="add mod">
          <ac:chgData name="Kyle Akepanidtaworn" userId="4250081e-2882-4185-9e9c-d3298cc00d78" providerId="ADAL" clId="{E3BEE011-BDE0-4924-857F-571F4CEA325A}" dt="2021-03-11T07:35:25.816" v="331" actId="1076"/>
          <ac:spMkLst>
            <pc:docMk/>
            <pc:sldMk cId="2762579071" sldId="2146846409"/>
            <ac:spMk id="376" creationId="{F9D8EAF9-4B1A-4B86-B6D9-599D2E9D8458}"/>
          </ac:spMkLst>
        </pc:spChg>
        <pc:spChg chg="add mod">
          <ac:chgData name="Kyle Akepanidtaworn" userId="4250081e-2882-4185-9e9c-d3298cc00d78" providerId="ADAL" clId="{E3BEE011-BDE0-4924-857F-571F4CEA325A}" dt="2021-03-11T07:35:25.816" v="331" actId="1076"/>
          <ac:spMkLst>
            <pc:docMk/>
            <pc:sldMk cId="2762579071" sldId="2146846409"/>
            <ac:spMk id="377" creationId="{D06703FB-72D1-44C6-872C-706BF6C97A7C}"/>
          </ac:spMkLst>
        </pc:spChg>
        <pc:spChg chg="add mod">
          <ac:chgData name="Kyle Akepanidtaworn" userId="4250081e-2882-4185-9e9c-d3298cc00d78" providerId="ADAL" clId="{E3BEE011-BDE0-4924-857F-571F4CEA325A}" dt="2021-03-11T07:35:25.816" v="331" actId="1076"/>
          <ac:spMkLst>
            <pc:docMk/>
            <pc:sldMk cId="2762579071" sldId="2146846409"/>
            <ac:spMk id="378" creationId="{E2A370D7-50FC-4F38-9242-E60F9BE23E87}"/>
          </ac:spMkLst>
        </pc:spChg>
        <pc:spChg chg="add mod">
          <ac:chgData name="Kyle Akepanidtaworn" userId="4250081e-2882-4185-9e9c-d3298cc00d78" providerId="ADAL" clId="{E3BEE011-BDE0-4924-857F-571F4CEA325A}" dt="2021-03-11T07:35:25.816" v="331" actId="1076"/>
          <ac:spMkLst>
            <pc:docMk/>
            <pc:sldMk cId="2762579071" sldId="2146846409"/>
            <ac:spMk id="380" creationId="{7E95CF72-6711-4CFC-A3C6-259C4C7C8503}"/>
          </ac:spMkLst>
        </pc:spChg>
        <pc:spChg chg="add mod">
          <ac:chgData name="Kyle Akepanidtaworn" userId="4250081e-2882-4185-9e9c-d3298cc00d78" providerId="ADAL" clId="{E3BEE011-BDE0-4924-857F-571F4CEA325A}" dt="2021-03-11T07:35:25.816" v="331" actId="1076"/>
          <ac:spMkLst>
            <pc:docMk/>
            <pc:sldMk cId="2762579071" sldId="2146846409"/>
            <ac:spMk id="381" creationId="{C652B4C5-FE5D-43A1-8763-5E3BF18D019A}"/>
          </ac:spMkLst>
        </pc:spChg>
        <pc:spChg chg="add mod">
          <ac:chgData name="Kyle Akepanidtaworn" userId="4250081e-2882-4185-9e9c-d3298cc00d78" providerId="ADAL" clId="{E3BEE011-BDE0-4924-857F-571F4CEA325A}" dt="2021-03-11T07:35:25.816" v="331" actId="1076"/>
          <ac:spMkLst>
            <pc:docMk/>
            <pc:sldMk cId="2762579071" sldId="2146846409"/>
            <ac:spMk id="382" creationId="{B139A9E3-937D-4E8C-9388-C520F2F67844}"/>
          </ac:spMkLst>
        </pc:spChg>
        <pc:spChg chg="add mod">
          <ac:chgData name="Kyle Akepanidtaworn" userId="4250081e-2882-4185-9e9c-d3298cc00d78" providerId="ADAL" clId="{E3BEE011-BDE0-4924-857F-571F4CEA325A}" dt="2021-03-11T07:35:25.816" v="331" actId="1076"/>
          <ac:spMkLst>
            <pc:docMk/>
            <pc:sldMk cId="2762579071" sldId="2146846409"/>
            <ac:spMk id="383" creationId="{57163687-DCEE-4A67-9B76-EA84556981B2}"/>
          </ac:spMkLst>
        </pc:spChg>
        <pc:spChg chg="add mod">
          <ac:chgData name="Kyle Akepanidtaworn" userId="4250081e-2882-4185-9e9c-d3298cc00d78" providerId="ADAL" clId="{E3BEE011-BDE0-4924-857F-571F4CEA325A}" dt="2021-03-11T07:35:25.816" v="331" actId="1076"/>
          <ac:spMkLst>
            <pc:docMk/>
            <pc:sldMk cId="2762579071" sldId="2146846409"/>
            <ac:spMk id="384" creationId="{8668F8FD-C4FE-4C4C-9069-ABFD78A6217E}"/>
          </ac:spMkLst>
        </pc:spChg>
        <pc:spChg chg="add mod">
          <ac:chgData name="Kyle Akepanidtaworn" userId="4250081e-2882-4185-9e9c-d3298cc00d78" providerId="ADAL" clId="{E3BEE011-BDE0-4924-857F-571F4CEA325A}" dt="2021-03-11T07:35:25.816" v="331" actId="1076"/>
          <ac:spMkLst>
            <pc:docMk/>
            <pc:sldMk cId="2762579071" sldId="2146846409"/>
            <ac:spMk id="386" creationId="{DD661376-041D-4C17-9537-9B4ABBB2543B}"/>
          </ac:spMkLst>
        </pc:spChg>
        <pc:spChg chg="add mod">
          <ac:chgData name="Kyle Akepanidtaworn" userId="4250081e-2882-4185-9e9c-d3298cc00d78" providerId="ADAL" clId="{E3BEE011-BDE0-4924-857F-571F4CEA325A}" dt="2021-03-11T07:35:25.816" v="331" actId="1076"/>
          <ac:spMkLst>
            <pc:docMk/>
            <pc:sldMk cId="2762579071" sldId="2146846409"/>
            <ac:spMk id="388" creationId="{A47E8E22-4A08-4629-B7ED-CA5BBF4D9C50}"/>
          </ac:spMkLst>
        </pc:spChg>
        <pc:spChg chg="add mod">
          <ac:chgData name="Kyle Akepanidtaworn" userId="4250081e-2882-4185-9e9c-d3298cc00d78" providerId="ADAL" clId="{E3BEE011-BDE0-4924-857F-571F4CEA325A}" dt="2021-03-11T07:35:25.816" v="331" actId="1076"/>
          <ac:spMkLst>
            <pc:docMk/>
            <pc:sldMk cId="2762579071" sldId="2146846409"/>
            <ac:spMk id="390" creationId="{A2B5DE41-FE3A-43E7-BA4F-7AA30B50402B}"/>
          </ac:spMkLst>
        </pc:spChg>
        <pc:spChg chg="add mod">
          <ac:chgData name="Kyle Akepanidtaworn" userId="4250081e-2882-4185-9e9c-d3298cc00d78" providerId="ADAL" clId="{E3BEE011-BDE0-4924-857F-571F4CEA325A}" dt="2021-03-11T07:35:25.816" v="331" actId="1076"/>
          <ac:spMkLst>
            <pc:docMk/>
            <pc:sldMk cId="2762579071" sldId="2146846409"/>
            <ac:spMk id="391" creationId="{4910265E-F381-46F2-B2FD-B0981446C92C}"/>
          </ac:spMkLst>
        </pc:spChg>
        <pc:spChg chg="add mod">
          <ac:chgData name="Kyle Akepanidtaworn" userId="4250081e-2882-4185-9e9c-d3298cc00d78" providerId="ADAL" clId="{E3BEE011-BDE0-4924-857F-571F4CEA325A}" dt="2021-03-11T07:35:25.816" v="331" actId="1076"/>
          <ac:spMkLst>
            <pc:docMk/>
            <pc:sldMk cId="2762579071" sldId="2146846409"/>
            <ac:spMk id="392" creationId="{86F8F462-0607-4CCD-80FB-152A183E5665}"/>
          </ac:spMkLst>
        </pc:spChg>
        <pc:spChg chg="add mod">
          <ac:chgData name="Kyle Akepanidtaworn" userId="4250081e-2882-4185-9e9c-d3298cc00d78" providerId="ADAL" clId="{E3BEE011-BDE0-4924-857F-571F4CEA325A}" dt="2021-03-11T07:35:25.816" v="331" actId="1076"/>
          <ac:spMkLst>
            <pc:docMk/>
            <pc:sldMk cId="2762579071" sldId="2146846409"/>
            <ac:spMk id="395" creationId="{437FEEB4-6309-4618-93FE-401A9A3CEF12}"/>
          </ac:spMkLst>
        </pc:spChg>
        <pc:spChg chg="add mod">
          <ac:chgData name="Kyle Akepanidtaworn" userId="4250081e-2882-4185-9e9c-d3298cc00d78" providerId="ADAL" clId="{E3BEE011-BDE0-4924-857F-571F4CEA325A}" dt="2021-03-11T07:35:25.816" v="331" actId="1076"/>
          <ac:spMkLst>
            <pc:docMk/>
            <pc:sldMk cId="2762579071" sldId="2146846409"/>
            <ac:spMk id="396" creationId="{B2293E90-C4E2-4C36-B853-1610B51B6857}"/>
          </ac:spMkLst>
        </pc:spChg>
        <pc:spChg chg="mod">
          <ac:chgData name="Kyle Akepanidtaworn" userId="4250081e-2882-4185-9e9c-d3298cc00d78" providerId="ADAL" clId="{E3BEE011-BDE0-4924-857F-571F4CEA325A}" dt="2021-03-11T07:35:25.816" v="331" actId="1076"/>
          <ac:spMkLst>
            <pc:docMk/>
            <pc:sldMk cId="2762579071" sldId="2146846409"/>
            <ac:spMk id="398" creationId="{923C9E7C-3182-498C-AA6D-A783BEAB3FD6}"/>
          </ac:spMkLst>
        </pc:spChg>
        <pc:spChg chg="mod">
          <ac:chgData name="Kyle Akepanidtaworn" userId="4250081e-2882-4185-9e9c-d3298cc00d78" providerId="ADAL" clId="{E3BEE011-BDE0-4924-857F-571F4CEA325A}" dt="2021-03-11T07:35:25.816" v="331" actId="1076"/>
          <ac:spMkLst>
            <pc:docMk/>
            <pc:sldMk cId="2762579071" sldId="2146846409"/>
            <ac:spMk id="399" creationId="{E934CC90-2DD3-4A7D-9DB0-B8A1C4AAE983}"/>
          </ac:spMkLst>
        </pc:spChg>
        <pc:spChg chg="mod">
          <ac:chgData name="Kyle Akepanidtaworn" userId="4250081e-2882-4185-9e9c-d3298cc00d78" providerId="ADAL" clId="{E3BEE011-BDE0-4924-857F-571F4CEA325A}" dt="2021-03-11T07:35:25.816" v="331" actId="1076"/>
          <ac:spMkLst>
            <pc:docMk/>
            <pc:sldMk cId="2762579071" sldId="2146846409"/>
            <ac:spMk id="400" creationId="{65119721-BFA3-4B96-87FE-BB9B19651404}"/>
          </ac:spMkLst>
        </pc:spChg>
        <pc:spChg chg="add mod">
          <ac:chgData name="Kyle Akepanidtaworn" userId="4250081e-2882-4185-9e9c-d3298cc00d78" providerId="ADAL" clId="{E3BEE011-BDE0-4924-857F-571F4CEA325A}" dt="2021-03-11T07:35:25.816" v="331" actId="1076"/>
          <ac:spMkLst>
            <pc:docMk/>
            <pc:sldMk cId="2762579071" sldId="2146846409"/>
            <ac:spMk id="401" creationId="{6347CF03-0C73-4F95-AC4D-C87D080DB270}"/>
          </ac:spMkLst>
        </pc:spChg>
        <pc:spChg chg="add mod">
          <ac:chgData name="Kyle Akepanidtaworn" userId="4250081e-2882-4185-9e9c-d3298cc00d78" providerId="ADAL" clId="{E3BEE011-BDE0-4924-857F-571F4CEA325A}" dt="2021-03-11T07:35:25.816" v="331" actId="1076"/>
          <ac:spMkLst>
            <pc:docMk/>
            <pc:sldMk cId="2762579071" sldId="2146846409"/>
            <ac:spMk id="402" creationId="{3C19C026-5789-43A3-BBC0-52AFA4EAD4AE}"/>
          </ac:spMkLst>
        </pc:spChg>
        <pc:spChg chg="add mod">
          <ac:chgData name="Kyle Akepanidtaworn" userId="4250081e-2882-4185-9e9c-d3298cc00d78" providerId="ADAL" clId="{E3BEE011-BDE0-4924-857F-571F4CEA325A}" dt="2021-03-11T07:35:25.816" v="331" actId="1076"/>
          <ac:spMkLst>
            <pc:docMk/>
            <pc:sldMk cId="2762579071" sldId="2146846409"/>
            <ac:spMk id="403" creationId="{8426694B-A659-4F8B-BD32-575EB2B56FC9}"/>
          </ac:spMkLst>
        </pc:spChg>
        <pc:spChg chg="add mod">
          <ac:chgData name="Kyle Akepanidtaworn" userId="4250081e-2882-4185-9e9c-d3298cc00d78" providerId="ADAL" clId="{E3BEE011-BDE0-4924-857F-571F4CEA325A}" dt="2021-03-11T07:35:25.816" v="331" actId="1076"/>
          <ac:spMkLst>
            <pc:docMk/>
            <pc:sldMk cId="2762579071" sldId="2146846409"/>
            <ac:spMk id="404" creationId="{20751295-4885-4C69-85A3-9B68D77C31BC}"/>
          </ac:spMkLst>
        </pc:spChg>
        <pc:spChg chg="add mod">
          <ac:chgData name="Kyle Akepanidtaworn" userId="4250081e-2882-4185-9e9c-d3298cc00d78" providerId="ADAL" clId="{E3BEE011-BDE0-4924-857F-571F4CEA325A}" dt="2021-03-11T07:35:25.816" v="331" actId="1076"/>
          <ac:spMkLst>
            <pc:docMk/>
            <pc:sldMk cId="2762579071" sldId="2146846409"/>
            <ac:spMk id="405" creationId="{747E521D-C9D9-4A51-9238-BD4A14F412C6}"/>
          </ac:spMkLst>
        </pc:spChg>
        <pc:spChg chg="add mod">
          <ac:chgData name="Kyle Akepanidtaworn" userId="4250081e-2882-4185-9e9c-d3298cc00d78" providerId="ADAL" clId="{E3BEE011-BDE0-4924-857F-571F4CEA325A}" dt="2021-03-11T07:35:25.816" v="331" actId="1076"/>
          <ac:spMkLst>
            <pc:docMk/>
            <pc:sldMk cId="2762579071" sldId="2146846409"/>
            <ac:spMk id="407" creationId="{2C7E7DFE-ACCE-4A74-81FC-C450825D0561}"/>
          </ac:spMkLst>
        </pc:spChg>
        <pc:spChg chg="add mod">
          <ac:chgData name="Kyle Akepanidtaworn" userId="4250081e-2882-4185-9e9c-d3298cc00d78" providerId="ADAL" clId="{E3BEE011-BDE0-4924-857F-571F4CEA325A}" dt="2021-03-11T07:35:25.816" v="331" actId="1076"/>
          <ac:spMkLst>
            <pc:docMk/>
            <pc:sldMk cId="2762579071" sldId="2146846409"/>
            <ac:spMk id="408" creationId="{4CF138F1-AC90-460D-B740-485BE0D016C5}"/>
          </ac:spMkLst>
        </pc:spChg>
        <pc:spChg chg="add mod">
          <ac:chgData name="Kyle Akepanidtaworn" userId="4250081e-2882-4185-9e9c-d3298cc00d78" providerId="ADAL" clId="{E3BEE011-BDE0-4924-857F-571F4CEA325A}" dt="2021-03-11T07:35:25.816" v="331" actId="1076"/>
          <ac:spMkLst>
            <pc:docMk/>
            <pc:sldMk cId="2762579071" sldId="2146846409"/>
            <ac:spMk id="409" creationId="{9C84237E-A75F-4848-9666-9614E57CDA2E}"/>
          </ac:spMkLst>
        </pc:spChg>
        <pc:spChg chg="add mod">
          <ac:chgData name="Kyle Akepanidtaworn" userId="4250081e-2882-4185-9e9c-d3298cc00d78" providerId="ADAL" clId="{E3BEE011-BDE0-4924-857F-571F4CEA325A}" dt="2021-03-11T07:35:25.816" v="331" actId="1076"/>
          <ac:spMkLst>
            <pc:docMk/>
            <pc:sldMk cId="2762579071" sldId="2146846409"/>
            <ac:spMk id="410" creationId="{231F8992-9916-42DF-ABED-F35299EE2435}"/>
          </ac:spMkLst>
        </pc:spChg>
        <pc:grpChg chg="del">
          <ac:chgData name="Kyle Akepanidtaworn" userId="4250081e-2882-4185-9e9c-d3298cc00d78" providerId="ADAL" clId="{E3BEE011-BDE0-4924-857F-571F4CEA325A}" dt="2021-03-11T07:34:11.307" v="321" actId="478"/>
          <ac:grpSpMkLst>
            <pc:docMk/>
            <pc:sldMk cId="2762579071" sldId="2146846409"/>
            <ac:grpSpMk id="163" creationId="{EC7B45CC-1CBF-4F8F-A239-5C6676CB75F2}"/>
          </ac:grpSpMkLst>
        </pc:grpChg>
        <pc:grpChg chg="del">
          <ac:chgData name="Kyle Akepanidtaworn" userId="4250081e-2882-4185-9e9c-d3298cc00d78" providerId="ADAL" clId="{E3BEE011-BDE0-4924-857F-571F4CEA325A}" dt="2021-03-11T07:34:11.307" v="321" actId="478"/>
          <ac:grpSpMkLst>
            <pc:docMk/>
            <pc:sldMk cId="2762579071" sldId="2146846409"/>
            <ac:grpSpMk id="172" creationId="{569AA782-FA80-4227-908A-A2280C0B86EC}"/>
          </ac:grpSpMkLst>
        </pc:grpChg>
        <pc:grpChg chg="del">
          <ac:chgData name="Kyle Akepanidtaworn" userId="4250081e-2882-4185-9e9c-d3298cc00d78" providerId="ADAL" clId="{E3BEE011-BDE0-4924-857F-571F4CEA325A}" dt="2021-03-11T07:34:11.307" v="321" actId="478"/>
          <ac:grpSpMkLst>
            <pc:docMk/>
            <pc:sldMk cId="2762579071" sldId="2146846409"/>
            <ac:grpSpMk id="183" creationId="{60D26DF0-79B9-4C6D-8E99-351F7BB269BA}"/>
          </ac:grpSpMkLst>
        </pc:grpChg>
        <pc:grpChg chg="del">
          <ac:chgData name="Kyle Akepanidtaworn" userId="4250081e-2882-4185-9e9c-d3298cc00d78" providerId="ADAL" clId="{E3BEE011-BDE0-4924-857F-571F4CEA325A}" dt="2021-03-11T07:34:11.307" v="321" actId="478"/>
          <ac:grpSpMkLst>
            <pc:docMk/>
            <pc:sldMk cId="2762579071" sldId="2146846409"/>
            <ac:grpSpMk id="208" creationId="{C8CF0DA1-1C9C-4A40-89F6-B81563321198}"/>
          </ac:grpSpMkLst>
        </pc:grpChg>
        <pc:grpChg chg="del">
          <ac:chgData name="Kyle Akepanidtaworn" userId="4250081e-2882-4185-9e9c-d3298cc00d78" providerId="ADAL" clId="{E3BEE011-BDE0-4924-857F-571F4CEA325A}" dt="2021-03-11T07:34:11.307" v="321" actId="478"/>
          <ac:grpSpMkLst>
            <pc:docMk/>
            <pc:sldMk cId="2762579071" sldId="2146846409"/>
            <ac:grpSpMk id="211" creationId="{C46CE423-2BE8-408D-995D-068685FC8C9C}"/>
          </ac:grpSpMkLst>
        </pc:grpChg>
        <pc:grpChg chg="del">
          <ac:chgData name="Kyle Akepanidtaworn" userId="4250081e-2882-4185-9e9c-d3298cc00d78" providerId="ADAL" clId="{E3BEE011-BDE0-4924-857F-571F4CEA325A}" dt="2021-03-11T07:34:11.307" v="321" actId="478"/>
          <ac:grpSpMkLst>
            <pc:docMk/>
            <pc:sldMk cId="2762579071" sldId="2146846409"/>
            <ac:grpSpMk id="220" creationId="{2DB6AA86-A220-4004-AC53-878A5074BC3D}"/>
          </ac:grpSpMkLst>
        </pc:grpChg>
        <pc:grpChg chg="del">
          <ac:chgData name="Kyle Akepanidtaworn" userId="4250081e-2882-4185-9e9c-d3298cc00d78" providerId="ADAL" clId="{E3BEE011-BDE0-4924-857F-571F4CEA325A}" dt="2021-03-11T07:34:11.307" v="321" actId="478"/>
          <ac:grpSpMkLst>
            <pc:docMk/>
            <pc:sldMk cId="2762579071" sldId="2146846409"/>
            <ac:grpSpMk id="227" creationId="{F43A1F6E-568D-489B-B6C5-AC4A13ECB837}"/>
          </ac:grpSpMkLst>
        </pc:grpChg>
        <pc:grpChg chg="del">
          <ac:chgData name="Kyle Akepanidtaworn" userId="4250081e-2882-4185-9e9c-d3298cc00d78" providerId="ADAL" clId="{E3BEE011-BDE0-4924-857F-571F4CEA325A}" dt="2021-03-11T07:34:11.307" v="321" actId="478"/>
          <ac:grpSpMkLst>
            <pc:docMk/>
            <pc:sldMk cId="2762579071" sldId="2146846409"/>
            <ac:grpSpMk id="242" creationId="{118F63F6-E87A-44E7-8D3A-E9535B8C40C3}"/>
          </ac:grpSpMkLst>
        </pc:grpChg>
        <pc:grpChg chg="del">
          <ac:chgData name="Kyle Akepanidtaworn" userId="4250081e-2882-4185-9e9c-d3298cc00d78" providerId="ADAL" clId="{E3BEE011-BDE0-4924-857F-571F4CEA325A}" dt="2021-03-11T07:34:11.307" v="321" actId="478"/>
          <ac:grpSpMkLst>
            <pc:docMk/>
            <pc:sldMk cId="2762579071" sldId="2146846409"/>
            <ac:grpSpMk id="256" creationId="{52D13F43-F829-4FB3-B072-F9203466D420}"/>
          </ac:grpSpMkLst>
        </pc:grpChg>
        <pc:grpChg chg="add del mod">
          <ac:chgData name="Kyle Akepanidtaworn" userId="4250081e-2882-4185-9e9c-d3298cc00d78" providerId="ADAL" clId="{E3BEE011-BDE0-4924-857F-571F4CEA325A}" dt="2021-03-11T07:34:35.926" v="323"/>
          <ac:grpSpMkLst>
            <pc:docMk/>
            <pc:sldMk cId="2762579071" sldId="2146846409"/>
            <ac:grpSpMk id="293" creationId="{5571DE3D-9D73-49DA-9712-3DBC0D90F32A}"/>
          </ac:grpSpMkLst>
        </pc:grpChg>
        <pc:grpChg chg="add del mod">
          <ac:chgData name="Kyle Akepanidtaworn" userId="4250081e-2882-4185-9e9c-d3298cc00d78" providerId="ADAL" clId="{E3BEE011-BDE0-4924-857F-571F4CEA325A}" dt="2021-03-11T07:34:35.926" v="323"/>
          <ac:grpSpMkLst>
            <pc:docMk/>
            <pc:sldMk cId="2762579071" sldId="2146846409"/>
            <ac:grpSpMk id="296" creationId="{40E89187-36D4-447A-BFD7-32F5B6E4DF21}"/>
          </ac:grpSpMkLst>
        </pc:grpChg>
        <pc:grpChg chg="add del mod">
          <ac:chgData name="Kyle Akepanidtaworn" userId="4250081e-2882-4185-9e9c-d3298cc00d78" providerId="ADAL" clId="{E3BEE011-BDE0-4924-857F-571F4CEA325A}" dt="2021-03-11T07:34:35.926" v="323"/>
          <ac:grpSpMkLst>
            <pc:docMk/>
            <pc:sldMk cId="2762579071" sldId="2146846409"/>
            <ac:grpSpMk id="328" creationId="{3E7FC1AE-6ABF-439B-A866-9642352C11E3}"/>
          </ac:grpSpMkLst>
        </pc:grpChg>
        <pc:grpChg chg="add mod">
          <ac:chgData name="Kyle Akepanidtaworn" userId="4250081e-2882-4185-9e9c-d3298cc00d78" providerId="ADAL" clId="{E3BEE011-BDE0-4924-857F-571F4CEA325A}" dt="2021-03-11T07:35:25.816" v="331" actId="1076"/>
          <ac:grpSpMkLst>
            <pc:docMk/>
            <pc:sldMk cId="2762579071" sldId="2146846409"/>
            <ac:grpSpMk id="362" creationId="{28736625-BBE1-45B5-9819-03634FD4D4ED}"/>
          </ac:grpSpMkLst>
        </pc:grpChg>
        <pc:grpChg chg="add mod">
          <ac:chgData name="Kyle Akepanidtaworn" userId="4250081e-2882-4185-9e9c-d3298cc00d78" providerId="ADAL" clId="{E3BEE011-BDE0-4924-857F-571F4CEA325A}" dt="2021-03-11T07:35:25.816" v="331" actId="1076"/>
          <ac:grpSpMkLst>
            <pc:docMk/>
            <pc:sldMk cId="2762579071" sldId="2146846409"/>
            <ac:grpSpMk id="365" creationId="{BA8EFDAD-17AD-4C3B-84A1-056D1FA1E4E7}"/>
          </ac:grpSpMkLst>
        </pc:grpChg>
        <pc:grpChg chg="add mod">
          <ac:chgData name="Kyle Akepanidtaworn" userId="4250081e-2882-4185-9e9c-d3298cc00d78" providerId="ADAL" clId="{E3BEE011-BDE0-4924-857F-571F4CEA325A}" dt="2021-03-11T07:35:25.816" v="331" actId="1076"/>
          <ac:grpSpMkLst>
            <pc:docMk/>
            <pc:sldMk cId="2762579071" sldId="2146846409"/>
            <ac:grpSpMk id="397" creationId="{6E1836F3-F511-427D-8EE1-62D0BA68E467}"/>
          </ac:grpSpMkLst>
        </pc:grpChg>
        <pc:picChg chg="add del mod">
          <ac:chgData name="Kyle Akepanidtaworn" userId="4250081e-2882-4185-9e9c-d3298cc00d78" providerId="ADAL" clId="{E3BEE011-BDE0-4924-857F-571F4CEA325A}" dt="2021-03-11T07:36:25.952" v="338" actId="21"/>
          <ac:picMkLst>
            <pc:docMk/>
            <pc:sldMk cId="2762579071" sldId="2146846409"/>
            <ac:picMk id="3" creationId="{D97A3B5B-2D29-4811-84E3-F2F46475159E}"/>
          </ac:picMkLst>
        </pc:picChg>
        <pc:picChg chg="del">
          <ac:chgData name="Kyle Akepanidtaworn" userId="4250081e-2882-4185-9e9c-d3298cc00d78" providerId="ADAL" clId="{E3BEE011-BDE0-4924-857F-571F4CEA325A}" dt="2021-03-11T07:34:11.307" v="321" actId="478"/>
          <ac:picMkLst>
            <pc:docMk/>
            <pc:sldMk cId="2762579071" sldId="2146846409"/>
            <ac:picMk id="182" creationId="{AE5E3196-E8F9-46D8-8D21-9581DAB74259}"/>
          </ac:picMkLst>
        </pc:picChg>
        <pc:picChg chg="del">
          <ac:chgData name="Kyle Akepanidtaworn" userId="4250081e-2882-4185-9e9c-d3298cc00d78" providerId="ADAL" clId="{E3BEE011-BDE0-4924-857F-571F4CEA325A}" dt="2021-03-11T07:34:11.307" v="321" actId="478"/>
          <ac:picMkLst>
            <pc:docMk/>
            <pc:sldMk cId="2762579071" sldId="2146846409"/>
            <ac:picMk id="250" creationId="{C9805DBE-F151-40B7-BAE5-9F4D7D3E9DFC}"/>
          </ac:picMkLst>
        </pc:picChg>
        <pc:picChg chg="del">
          <ac:chgData name="Kyle Akepanidtaworn" userId="4250081e-2882-4185-9e9c-d3298cc00d78" providerId="ADAL" clId="{E3BEE011-BDE0-4924-857F-571F4CEA325A}" dt="2021-03-11T07:34:11.307" v="321" actId="478"/>
          <ac:picMkLst>
            <pc:docMk/>
            <pc:sldMk cId="2762579071" sldId="2146846409"/>
            <ac:picMk id="251" creationId="{6201B81C-3929-4382-BB46-0FABDE87C54C}"/>
          </ac:picMkLst>
        </pc:picChg>
        <pc:picChg chg="del">
          <ac:chgData name="Kyle Akepanidtaworn" userId="4250081e-2882-4185-9e9c-d3298cc00d78" providerId="ADAL" clId="{E3BEE011-BDE0-4924-857F-571F4CEA325A}" dt="2021-03-11T07:34:11.307" v="321" actId="478"/>
          <ac:picMkLst>
            <pc:docMk/>
            <pc:sldMk cId="2762579071" sldId="2146846409"/>
            <ac:picMk id="252" creationId="{D57B90F5-EE46-4D34-9F65-E2DDF55AA532}"/>
          </ac:picMkLst>
        </pc:picChg>
        <pc:picChg chg="del">
          <ac:chgData name="Kyle Akepanidtaworn" userId="4250081e-2882-4185-9e9c-d3298cc00d78" providerId="ADAL" clId="{E3BEE011-BDE0-4924-857F-571F4CEA325A}" dt="2021-03-11T07:34:11.307" v="321" actId="478"/>
          <ac:picMkLst>
            <pc:docMk/>
            <pc:sldMk cId="2762579071" sldId="2146846409"/>
            <ac:picMk id="254" creationId="{DDA86FC9-5A1D-4EC2-AE3B-07DB0F7D4309}"/>
          </ac:picMkLst>
        </pc:picChg>
        <pc:picChg chg="add del mod">
          <ac:chgData name="Kyle Akepanidtaworn" userId="4250081e-2882-4185-9e9c-d3298cc00d78" providerId="ADAL" clId="{E3BEE011-BDE0-4924-857F-571F4CEA325A}" dt="2021-03-11T07:34:35.926" v="323"/>
          <ac:picMkLst>
            <pc:docMk/>
            <pc:sldMk cId="2762579071" sldId="2146846409"/>
            <ac:picMk id="303" creationId="{61F6DA70-C548-4DA9-A25A-7D1DBC168FFA}"/>
          </ac:picMkLst>
        </pc:picChg>
        <pc:picChg chg="add del mod">
          <ac:chgData name="Kyle Akepanidtaworn" userId="4250081e-2882-4185-9e9c-d3298cc00d78" providerId="ADAL" clId="{E3BEE011-BDE0-4924-857F-571F4CEA325A}" dt="2021-03-11T07:34:35.926" v="323"/>
          <ac:picMkLst>
            <pc:docMk/>
            <pc:sldMk cId="2762579071" sldId="2146846409"/>
            <ac:picMk id="304" creationId="{C185F5AC-6010-4022-AB26-BCA605828F67}"/>
          </ac:picMkLst>
        </pc:picChg>
        <pc:picChg chg="add del mod">
          <ac:chgData name="Kyle Akepanidtaworn" userId="4250081e-2882-4185-9e9c-d3298cc00d78" providerId="ADAL" clId="{E3BEE011-BDE0-4924-857F-571F4CEA325A}" dt="2021-03-11T07:34:35.926" v="323"/>
          <ac:picMkLst>
            <pc:docMk/>
            <pc:sldMk cId="2762579071" sldId="2146846409"/>
            <ac:picMk id="310" creationId="{CA67D326-6D49-4610-B5C0-4DC573C1A133}"/>
          </ac:picMkLst>
        </pc:picChg>
        <pc:picChg chg="add del mod">
          <ac:chgData name="Kyle Akepanidtaworn" userId="4250081e-2882-4185-9e9c-d3298cc00d78" providerId="ADAL" clId="{E3BEE011-BDE0-4924-857F-571F4CEA325A}" dt="2021-03-11T07:34:35.926" v="323"/>
          <ac:picMkLst>
            <pc:docMk/>
            <pc:sldMk cId="2762579071" sldId="2146846409"/>
            <ac:picMk id="318" creationId="{AEBA4EF3-2687-4801-A637-0FD25191E005}"/>
          </ac:picMkLst>
        </pc:picChg>
        <pc:picChg chg="add del mod">
          <ac:chgData name="Kyle Akepanidtaworn" userId="4250081e-2882-4185-9e9c-d3298cc00d78" providerId="ADAL" clId="{E3BEE011-BDE0-4924-857F-571F4CEA325A}" dt="2021-03-11T07:34:35.926" v="323"/>
          <ac:picMkLst>
            <pc:docMk/>
            <pc:sldMk cId="2762579071" sldId="2146846409"/>
            <ac:picMk id="325" creationId="{96511448-CFA6-4C44-8035-87E11C6B1361}"/>
          </ac:picMkLst>
        </pc:picChg>
        <pc:picChg chg="add mod">
          <ac:chgData name="Kyle Akepanidtaworn" userId="4250081e-2882-4185-9e9c-d3298cc00d78" providerId="ADAL" clId="{E3BEE011-BDE0-4924-857F-571F4CEA325A}" dt="2021-03-11T07:35:25.816" v="331" actId="1076"/>
          <ac:picMkLst>
            <pc:docMk/>
            <pc:sldMk cId="2762579071" sldId="2146846409"/>
            <ac:picMk id="372" creationId="{51432B68-1C10-477F-87D6-2BEF8E91B17A}"/>
          </ac:picMkLst>
        </pc:picChg>
        <pc:picChg chg="add mod">
          <ac:chgData name="Kyle Akepanidtaworn" userId="4250081e-2882-4185-9e9c-d3298cc00d78" providerId="ADAL" clId="{E3BEE011-BDE0-4924-857F-571F4CEA325A}" dt="2021-03-11T07:35:25.816" v="331" actId="1076"/>
          <ac:picMkLst>
            <pc:docMk/>
            <pc:sldMk cId="2762579071" sldId="2146846409"/>
            <ac:picMk id="373" creationId="{4038E7B3-66D7-43BA-A62A-1EED4262A2DD}"/>
          </ac:picMkLst>
        </pc:picChg>
        <pc:picChg chg="add mod">
          <ac:chgData name="Kyle Akepanidtaworn" userId="4250081e-2882-4185-9e9c-d3298cc00d78" providerId="ADAL" clId="{E3BEE011-BDE0-4924-857F-571F4CEA325A}" dt="2021-03-11T07:35:25.816" v="331" actId="1076"/>
          <ac:picMkLst>
            <pc:docMk/>
            <pc:sldMk cId="2762579071" sldId="2146846409"/>
            <ac:picMk id="379" creationId="{F3239F64-8459-4773-BE62-9C5BE4B6D36D}"/>
          </ac:picMkLst>
        </pc:picChg>
        <pc:picChg chg="add mod">
          <ac:chgData name="Kyle Akepanidtaworn" userId="4250081e-2882-4185-9e9c-d3298cc00d78" providerId="ADAL" clId="{E3BEE011-BDE0-4924-857F-571F4CEA325A}" dt="2021-03-11T07:35:25.816" v="331" actId="1076"/>
          <ac:picMkLst>
            <pc:docMk/>
            <pc:sldMk cId="2762579071" sldId="2146846409"/>
            <ac:picMk id="387" creationId="{CBCE5A79-700A-40D5-9617-9A4948005FFB}"/>
          </ac:picMkLst>
        </pc:picChg>
        <pc:picChg chg="add mod">
          <ac:chgData name="Kyle Akepanidtaworn" userId="4250081e-2882-4185-9e9c-d3298cc00d78" providerId="ADAL" clId="{E3BEE011-BDE0-4924-857F-571F4CEA325A}" dt="2021-03-11T07:35:25.816" v="331" actId="1076"/>
          <ac:picMkLst>
            <pc:docMk/>
            <pc:sldMk cId="2762579071" sldId="2146846409"/>
            <ac:picMk id="394" creationId="{8E36EA12-EE8C-44B5-8B85-D6002488190D}"/>
          </ac:picMkLst>
        </pc:picChg>
        <pc:cxnChg chg="del">
          <ac:chgData name="Kyle Akepanidtaworn" userId="4250081e-2882-4185-9e9c-d3298cc00d78" providerId="ADAL" clId="{E3BEE011-BDE0-4924-857F-571F4CEA325A}" dt="2021-03-11T07:34:11.307" v="321" actId="478"/>
          <ac:cxnSpMkLst>
            <pc:docMk/>
            <pc:sldMk cId="2762579071" sldId="2146846409"/>
            <ac:cxnSpMk id="153" creationId="{0CD20579-90BC-4482-8FE1-28C9518BCAE5}"/>
          </ac:cxnSpMkLst>
        </pc:cxnChg>
        <pc:cxnChg chg="del">
          <ac:chgData name="Kyle Akepanidtaworn" userId="4250081e-2882-4185-9e9c-d3298cc00d78" providerId="ADAL" clId="{E3BEE011-BDE0-4924-857F-571F4CEA325A}" dt="2021-03-11T07:34:11.307" v="321" actId="478"/>
          <ac:cxnSpMkLst>
            <pc:docMk/>
            <pc:sldMk cId="2762579071" sldId="2146846409"/>
            <ac:cxnSpMk id="154" creationId="{01C2C9FB-E196-4EF5-A71D-E8C682B720D5}"/>
          </ac:cxnSpMkLst>
        </pc:cxnChg>
        <pc:cxnChg chg="del">
          <ac:chgData name="Kyle Akepanidtaworn" userId="4250081e-2882-4185-9e9c-d3298cc00d78" providerId="ADAL" clId="{E3BEE011-BDE0-4924-857F-571F4CEA325A}" dt="2021-03-11T07:34:11.307" v="321" actId="478"/>
          <ac:cxnSpMkLst>
            <pc:docMk/>
            <pc:sldMk cId="2762579071" sldId="2146846409"/>
            <ac:cxnSpMk id="155" creationId="{96E56336-FC14-4A29-8159-DB04616E73A4}"/>
          </ac:cxnSpMkLst>
        </pc:cxnChg>
        <pc:cxnChg chg="del">
          <ac:chgData name="Kyle Akepanidtaworn" userId="4250081e-2882-4185-9e9c-d3298cc00d78" providerId="ADAL" clId="{E3BEE011-BDE0-4924-857F-571F4CEA325A}" dt="2021-03-11T07:34:11.307" v="321" actId="478"/>
          <ac:cxnSpMkLst>
            <pc:docMk/>
            <pc:sldMk cId="2762579071" sldId="2146846409"/>
            <ac:cxnSpMk id="157" creationId="{DB553DF3-8930-4572-8648-F52B1216ADEB}"/>
          </ac:cxnSpMkLst>
        </pc:cxnChg>
        <pc:cxnChg chg="del">
          <ac:chgData name="Kyle Akepanidtaworn" userId="4250081e-2882-4185-9e9c-d3298cc00d78" providerId="ADAL" clId="{E3BEE011-BDE0-4924-857F-571F4CEA325A}" dt="2021-03-11T07:34:11.307" v="321" actId="478"/>
          <ac:cxnSpMkLst>
            <pc:docMk/>
            <pc:sldMk cId="2762579071" sldId="2146846409"/>
            <ac:cxnSpMk id="158" creationId="{0EA83664-AC21-4AB4-8B1B-CBE8BDFCCF05}"/>
          </ac:cxnSpMkLst>
        </pc:cxnChg>
        <pc:cxnChg chg="del">
          <ac:chgData name="Kyle Akepanidtaworn" userId="4250081e-2882-4185-9e9c-d3298cc00d78" providerId="ADAL" clId="{E3BEE011-BDE0-4924-857F-571F4CEA325A}" dt="2021-03-11T07:34:11.307" v="321" actId="478"/>
          <ac:cxnSpMkLst>
            <pc:docMk/>
            <pc:sldMk cId="2762579071" sldId="2146846409"/>
            <ac:cxnSpMk id="159" creationId="{3518388C-933E-4A56-839C-CE7DD0DAB88F}"/>
          </ac:cxnSpMkLst>
        </pc:cxnChg>
        <pc:cxnChg chg="del">
          <ac:chgData name="Kyle Akepanidtaworn" userId="4250081e-2882-4185-9e9c-d3298cc00d78" providerId="ADAL" clId="{E3BEE011-BDE0-4924-857F-571F4CEA325A}" dt="2021-03-11T07:34:11.307" v="321" actId="478"/>
          <ac:cxnSpMkLst>
            <pc:docMk/>
            <pc:sldMk cId="2762579071" sldId="2146846409"/>
            <ac:cxnSpMk id="160" creationId="{710849C6-C11D-480F-98E4-D3A7AED161B6}"/>
          </ac:cxnSpMkLst>
        </pc:cxnChg>
        <pc:cxnChg chg="del">
          <ac:chgData name="Kyle Akepanidtaworn" userId="4250081e-2882-4185-9e9c-d3298cc00d78" providerId="ADAL" clId="{E3BEE011-BDE0-4924-857F-571F4CEA325A}" dt="2021-03-11T07:34:11.307" v="321" actId="478"/>
          <ac:cxnSpMkLst>
            <pc:docMk/>
            <pc:sldMk cId="2762579071" sldId="2146846409"/>
            <ac:cxnSpMk id="268" creationId="{C057CA2F-106F-4215-B2BA-016D21E61AF7}"/>
          </ac:cxnSpMkLst>
        </pc:cxnChg>
        <pc:cxnChg chg="del">
          <ac:chgData name="Kyle Akepanidtaworn" userId="4250081e-2882-4185-9e9c-d3298cc00d78" providerId="ADAL" clId="{E3BEE011-BDE0-4924-857F-571F4CEA325A}" dt="2021-03-11T07:34:11.307" v="321" actId="478"/>
          <ac:cxnSpMkLst>
            <pc:docMk/>
            <pc:sldMk cId="2762579071" sldId="2146846409"/>
            <ac:cxnSpMk id="270" creationId="{A23E0D2F-B35F-4E10-B839-749D04CD649A}"/>
          </ac:cxnSpMkLst>
        </pc:cxnChg>
        <pc:cxnChg chg="del">
          <ac:chgData name="Kyle Akepanidtaworn" userId="4250081e-2882-4185-9e9c-d3298cc00d78" providerId="ADAL" clId="{E3BEE011-BDE0-4924-857F-571F4CEA325A}" dt="2021-03-11T07:34:11.307" v="321" actId="478"/>
          <ac:cxnSpMkLst>
            <pc:docMk/>
            <pc:sldMk cId="2762579071" sldId="2146846409"/>
            <ac:cxnSpMk id="271" creationId="{1F5EAB3B-5668-4BCA-817D-E336D019B300}"/>
          </ac:cxnSpMkLst>
        </pc:cxnChg>
        <pc:cxnChg chg="del">
          <ac:chgData name="Kyle Akepanidtaworn" userId="4250081e-2882-4185-9e9c-d3298cc00d78" providerId="ADAL" clId="{E3BEE011-BDE0-4924-857F-571F4CEA325A}" dt="2021-03-11T07:34:11.307" v="321" actId="478"/>
          <ac:cxnSpMkLst>
            <pc:docMk/>
            <pc:sldMk cId="2762579071" sldId="2146846409"/>
            <ac:cxnSpMk id="272" creationId="{B4BDA127-17AC-46E2-AAFB-5756E0C3C858}"/>
          </ac:cxnSpMkLst>
        </pc:cxnChg>
        <pc:cxnChg chg="del">
          <ac:chgData name="Kyle Akepanidtaworn" userId="4250081e-2882-4185-9e9c-d3298cc00d78" providerId="ADAL" clId="{E3BEE011-BDE0-4924-857F-571F4CEA325A}" dt="2021-03-11T07:34:11.307" v="321" actId="478"/>
          <ac:cxnSpMkLst>
            <pc:docMk/>
            <pc:sldMk cId="2762579071" sldId="2146846409"/>
            <ac:cxnSpMk id="273" creationId="{3A286670-B5EA-4362-8B77-180B7C6895A1}"/>
          </ac:cxnSpMkLst>
        </pc:cxnChg>
        <pc:cxnChg chg="add del mod">
          <ac:chgData name="Kyle Akepanidtaworn" userId="4250081e-2882-4185-9e9c-d3298cc00d78" providerId="ADAL" clId="{E3BEE011-BDE0-4924-857F-571F4CEA325A}" dt="2021-03-11T07:34:35.926" v="323"/>
          <ac:cxnSpMkLst>
            <pc:docMk/>
            <pc:sldMk cId="2762579071" sldId="2146846409"/>
            <ac:cxnSpMk id="286" creationId="{43A95580-6E0A-4071-8B37-587434B578C5}"/>
          </ac:cxnSpMkLst>
        </pc:cxnChg>
        <pc:cxnChg chg="mod">
          <ac:chgData name="Kyle Akepanidtaworn" userId="4250081e-2882-4185-9e9c-d3298cc00d78" providerId="ADAL" clId="{E3BEE011-BDE0-4924-857F-571F4CEA325A}" dt="2021-03-11T07:34:34.901" v="322"/>
          <ac:cxnSpMkLst>
            <pc:docMk/>
            <pc:sldMk cId="2762579071" sldId="2146846409"/>
            <ac:cxnSpMk id="298" creationId="{E63C11CE-F175-48B1-B1B9-7E68061B7923}"/>
          </ac:cxnSpMkLst>
        </pc:cxnChg>
        <pc:cxnChg chg="add del mod">
          <ac:chgData name="Kyle Akepanidtaworn" userId="4250081e-2882-4185-9e9c-d3298cc00d78" providerId="ADAL" clId="{E3BEE011-BDE0-4924-857F-571F4CEA325A}" dt="2021-03-11T07:34:35.926" v="323"/>
          <ac:cxnSpMkLst>
            <pc:docMk/>
            <pc:sldMk cId="2762579071" sldId="2146846409"/>
            <ac:cxnSpMk id="316" creationId="{1B09B314-35E1-4A8C-B5CD-9B325FD8CD93}"/>
          </ac:cxnSpMkLst>
        </pc:cxnChg>
        <pc:cxnChg chg="add del mod">
          <ac:chgData name="Kyle Akepanidtaworn" userId="4250081e-2882-4185-9e9c-d3298cc00d78" providerId="ADAL" clId="{E3BEE011-BDE0-4924-857F-571F4CEA325A}" dt="2021-03-11T07:34:35.926" v="323"/>
          <ac:cxnSpMkLst>
            <pc:docMk/>
            <pc:sldMk cId="2762579071" sldId="2146846409"/>
            <ac:cxnSpMk id="320" creationId="{99617554-25D3-46A2-AAF8-DF38DE73317E}"/>
          </ac:cxnSpMkLst>
        </pc:cxnChg>
        <pc:cxnChg chg="add del mod">
          <ac:chgData name="Kyle Akepanidtaworn" userId="4250081e-2882-4185-9e9c-d3298cc00d78" providerId="ADAL" clId="{E3BEE011-BDE0-4924-857F-571F4CEA325A}" dt="2021-03-11T07:34:35.926" v="323"/>
          <ac:cxnSpMkLst>
            <pc:docMk/>
            <pc:sldMk cId="2762579071" sldId="2146846409"/>
            <ac:cxnSpMk id="324" creationId="{E7C90295-F680-4315-90C6-A6A268DEB3E3}"/>
          </ac:cxnSpMkLst>
        </pc:cxnChg>
        <pc:cxnChg chg="add del mod">
          <ac:chgData name="Kyle Akepanidtaworn" userId="4250081e-2882-4185-9e9c-d3298cc00d78" providerId="ADAL" clId="{E3BEE011-BDE0-4924-857F-571F4CEA325A}" dt="2021-03-11T07:34:35.926" v="323"/>
          <ac:cxnSpMkLst>
            <pc:docMk/>
            <pc:sldMk cId="2762579071" sldId="2146846409"/>
            <ac:cxnSpMk id="337" creationId="{FAF630EA-6D68-4101-9180-BE2E44A0627C}"/>
          </ac:cxnSpMkLst>
        </pc:cxnChg>
        <pc:cxnChg chg="add mod">
          <ac:chgData name="Kyle Akepanidtaworn" userId="4250081e-2882-4185-9e9c-d3298cc00d78" providerId="ADAL" clId="{E3BEE011-BDE0-4924-857F-571F4CEA325A}" dt="2021-03-11T07:35:25.816" v="331" actId="1076"/>
          <ac:cxnSpMkLst>
            <pc:docMk/>
            <pc:sldMk cId="2762579071" sldId="2146846409"/>
            <ac:cxnSpMk id="355" creationId="{6B5726F5-DF5B-4A1C-995F-7D4CA8FB7A1B}"/>
          </ac:cxnSpMkLst>
        </pc:cxnChg>
        <pc:cxnChg chg="mod">
          <ac:chgData name="Kyle Akepanidtaworn" userId="4250081e-2882-4185-9e9c-d3298cc00d78" providerId="ADAL" clId="{E3BEE011-BDE0-4924-857F-571F4CEA325A}" dt="2021-03-11T07:35:25.816" v="331" actId="1076"/>
          <ac:cxnSpMkLst>
            <pc:docMk/>
            <pc:sldMk cId="2762579071" sldId="2146846409"/>
            <ac:cxnSpMk id="367" creationId="{4FD553A7-9AA8-4E11-B004-CF20C43D6A54}"/>
          </ac:cxnSpMkLst>
        </pc:cxnChg>
        <pc:cxnChg chg="add mod">
          <ac:chgData name="Kyle Akepanidtaworn" userId="4250081e-2882-4185-9e9c-d3298cc00d78" providerId="ADAL" clId="{E3BEE011-BDE0-4924-857F-571F4CEA325A}" dt="2021-03-11T07:35:25.816" v="331" actId="1076"/>
          <ac:cxnSpMkLst>
            <pc:docMk/>
            <pc:sldMk cId="2762579071" sldId="2146846409"/>
            <ac:cxnSpMk id="385" creationId="{28654068-F06D-416C-A25B-669B10BC5986}"/>
          </ac:cxnSpMkLst>
        </pc:cxnChg>
        <pc:cxnChg chg="add mod">
          <ac:chgData name="Kyle Akepanidtaworn" userId="4250081e-2882-4185-9e9c-d3298cc00d78" providerId="ADAL" clId="{E3BEE011-BDE0-4924-857F-571F4CEA325A}" dt="2021-03-11T07:35:25.816" v="331" actId="1076"/>
          <ac:cxnSpMkLst>
            <pc:docMk/>
            <pc:sldMk cId="2762579071" sldId="2146846409"/>
            <ac:cxnSpMk id="389" creationId="{21CDA29C-686D-44B2-A191-785A6DF4FCAE}"/>
          </ac:cxnSpMkLst>
        </pc:cxnChg>
        <pc:cxnChg chg="add mod">
          <ac:chgData name="Kyle Akepanidtaworn" userId="4250081e-2882-4185-9e9c-d3298cc00d78" providerId="ADAL" clId="{E3BEE011-BDE0-4924-857F-571F4CEA325A}" dt="2021-03-11T07:35:25.816" v="331" actId="1076"/>
          <ac:cxnSpMkLst>
            <pc:docMk/>
            <pc:sldMk cId="2762579071" sldId="2146846409"/>
            <ac:cxnSpMk id="393" creationId="{FF34FBF3-CC48-4155-A86A-49F5BF87F748}"/>
          </ac:cxnSpMkLst>
        </pc:cxnChg>
        <pc:cxnChg chg="add mod">
          <ac:chgData name="Kyle Akepanidtaworn" userId="4250081e-2882-4185-9e9c-d3298cc00d78" providerId="ADAL" clId="{E3BEE011-BDE0-4924-857F-571F4CEA325A}" dt="2021-03-11T07:35:25.816" v="331" actId="1076"/>
          <ac:cxnSpMkLst>
            <pc:docMk/>
            <pc:sldMk cId="2762579071" sldId="2146846409"/>
            <ac:cxnSpMk id="406" creationId="{E2264DCC-414A-4A9C-A8B0-F25242F7C7DA}"/>
          </ac:cxnSpMkLst>
        </pc:cxnChg>
      </pc:sldChg>
      <pc:sldChg chg="addSp delSp modSp add mod ord">
        <pc:chgData name="Kyle Akepanidtaworn" userId="4250081e-2882-4185-9e9c-d3298cc00d78" providerId="ADAL" clId="{E3BEE011-BDE0-4924-857F-571F4CEA325A}" dt="2021-03-17T03:09:42.971" v="1344" actId="1076"/>
        <pc:sldMkLst>
          <pc:docMk/>
          <pc:sldMk cId="3225415074" sldId="2146846410"/>
        </pc:sldMkLst>
        <pc:spChg chg="mod">
          <ac:chgData name="Kyle Akepanidtaworn" userId="4250081e-2882-4185-9e9c-d3298cc00d78" providerId="ADAL" clId="{E3BEE011-BDE0-4924-857F-571F4CEA325A}" dt="2021-03-11T07:43:11.786" v="501" actId="1076"/>
          <ac:spMkLst>
            <pc:docMk/>
            <pc:sldMk cId="3225415074" sldId="2146846410"/>
            <ac:spMk id="2" creationId="{97DBDC07-7F6D-4ADD-8C5A-0FC2D8B6FAE9}"/>
          </ac:spMkLst>
        </pc:spChg>
        <pc:spChg chg="add del">
          <ac:chgData name="Kyle Akepanidtaworn" userId="4250081e-2882-4185-9e9c-d3298cc00d78" providerId="ADAL" clId="{E3BEE011-BDE0-4924-857F-571F4CEA325A}" dt="2021-03-11T07:38:34.453" v="387" actId="478"/>
          <ac:spMkLst>
            <pc:docMk/>
            <pc:sldMk cId="3225415074" sldId="2146846410"/>
            <ac:spMk id="3" creationId="{238B57C3-E185-4231-80D1-9E900B5B1382}"/>
          </ac:spMkLst>
        </pc:spChg>
        <pc:spChg chg="add del mod">
          <ac:chgData name="Kyle Akepanidtaworn" userId="4250081e-2882-4185-9e9c-d3298cc00d78" providerId="ADAL" clId="{E3BEE011-BDE0-4924-857F-571F4CEA325A}" dt="2021-03-17T03:01:57.447" v="1077" actId="478"/>
          <ac:spMkLst>
            <pc:docMk/>
            <pc:sldMk cId="3225415074" sldId="2146846410"/>
            <ac:spMk id="5" creationId="{9953EFD1-92CB-441D-9EF6-EACA1890E1C6}"/>
          </ac:spMkLst>
        </pc:spChg>
        <pc:spChg chg="add del mod">
          <ac:chgData name="Kyle Akepanidtaworn" userId="4250081e-2882-4185-9e9c-d3298cc00d78" providerId="ADAL" clId="{E3BEE011-BDE0-4924-857F-571F4CEA325A}" dt="2021-03-17T03:01:57.447" v="1077" actId="478"/>
          <ac:spMkLst>
            <pc:docMk/>
            <pc:sldMk cId="3225415074" sldId="2146846410"/>
            <ac:spMk id="6" creationId="{33D51099-9116-4EB5-9FA8-1817C816CD13}"/>
          </ac:spMkLst>
        </pc:spChg>
        <pc:spChg chg="add mod">
          <ac:chgData name="Kyle Akepanidtaworn" userId="4250081e-2882-4185-9e9c-d3298cc00d78" providerId="ADAL" clId="{E3BEE011-BDE0-4924-857F-571F4CEA325A}" dt="2021-03-17T03:03:29.914" v="1149" actId="1076"/>
          <ac:spMkLst>
            <pc:docMk/>
            <pc:sldMk cId="3225415074" sldId="2146846410"/>
            <ac:spMk id="7" creationId="{1C1CC32B-8E58-4608-A58F-50BA1DC2A2BA}"/>
          </ac:spMkLst>
        </pc:spChg>
        <pc:spChg chg="add del mod">
          <ac:chgData name="Kyle Akepanidtaworn" userId="4250081e-2882-4185-9e9c-d3298cc00d78" providerId="ADAL" clId="{E3BEE011-BDE0-4924-857F-571F4CEA325A}" dt="2021-03-17T03:05:40.329" v="1263" actId="478"/>
          <ac:spMkLst>
            <pc:docMk/>
            <pc:sldMk cId="3225415074" sldId="2146846410"/>
            <ac:spMk id="8" creationId="{04D27463-C320-4E31-9EB9-D90B6C38FDC4}"/>
          </ac:spMkLst>
        </pc:spChg>
        <pc:spChg chg="add mod topLvl">
          <ac:chgData name="Kyle Akepanidtaworn" userId="4250081e-2882-4185-9e9c-d3298cc00d78" providerId="ADAL" clId="{E3BEE011-BDE0-4924-857F-571F4CEA325A}" dt="2021-03-17T03:07:28.474" v="1288" actId="1076"/>
          <ac:spMkLst>
            <pc:docMk/>
            <pc:sldMk cId="3225415074" sldId="2146846410"/>
            <ac:spMk id="10" creationId="{E98B72D9-22D7-4F00-BD78-A01405E57837}"/>
          </ac:spMkLst>
        </pc:spChg>
        <pc:spChg chg="add mod topLvl">
          <ac:chgData name="Kyle Akepanidtaworn" userId="4250081e-2882-4185-9e9c-d3298cc00d78" providerId="ADAL" clId="{E3BEE011-BDE0-4924-857F-571F4CEA325A}" dt="2021-03-17T03:07:46.498" v="1294" actId="14100"/>
          <ac:spMkLst>
            <pc:docMk/>
            <pc:sldMk cId="3225415074" sldId="2146846410"/>
            <ac:spMk id="11" creationId="{2965123B-4FE0-4C53-BD27-465C62E549A4}"/>
          </ac:spMkLst>
        </pc:spChg>
        <pc:spChg chg="add del mod">
          <ac:chgData name="Kyle Akepanidtaworn" userId="4250081e-2882-4185-9e9c-d3298cc00d78" providerId="ADAL" clId="{E3BEE011-BDE0-4924-857F-571F4CEA325A}" dt="2021-03-17T03:05:40.329" v="1263" actId="478"/>
          <ac:spMkLst>
            <pc:docMk/>
            <pc:sldMk cId="3225415074" sldId="2146846410"/>
            <ac:spMk id="13" creationId="{53FED78B-C1CD-4041-ABF5-4397078BD363}"/>
          </ac:spMkLst>
        </pc:spChg>
        <pc:spChg chg="add mod">
          <ac:chgData name="Kyle Akepanidtaworn" userId="4250081e-2882-4185-9e9c-d3298cc00d78" providerId="ADAL" clId="{E3BEE011-BDE0-4924-857F-571F4CEA325A}" dt="2021-03-17T03:03:44.066" v="1177" actId="1076"/>
          <ac:spMkLst>
            <pc:docMk/>
            <pc:sldMk cId="3225415074" sldId="2146846410"/>
            <ac:spMk id="14" creationId="{689E6A69-77A0-4EE5-8BE1-60F2E6CB74AC}"/>
          </ac:spMkLst>
        </pc:spChg>
        <pc:spChg chg="add mod">
          <ac:chgData name="Kyle Akepanidtaworn" userId="4250081e-2882-4185-9e9c-d3298cc00d78" providerId="ADAL" clId="{E3BEE011-BDE0-4924-857F-571F4CEA325A}" dt="2021-03-17T03:08:37.422" v="1332" actId="571"/>
          <ac:spMkLst>
            <pc:docMk/>
            <pc:sldMk cId="3225415074" sldId="2146846410"/>
            <ac:spMk id="64" creationId="{0F8672D7-088A-4961-B828-54F44D5B9B28}"/>
          </ac:spMkLst>
        </pc:spChg>
        <pc:spChg chg="add mod">
          <ac:chgData name="Kyle Akepanidtaworn" userId="4250081e-2882-4185-9e9c-d3298cc00d78" providerId="ADAL" clId="{E3BEE011-BDE0-4924-857F-571F4CEA325A}" dt="2021-03-17T03:08:37.422" v="1332" actId="571"/>
          <ac:spMkLst>
            <pc:docMk/>
            <pc:sldMk cId="3225415074" sldId="2146846410"/>
            <ac:spMk id="65" creationId="{542F5F95-6AC6-4E8F-A60A-1DEA91C57520}"/>
          </ac:spMkLst>
        </pc:spChg>
        <pc:spChg chg="add del mod">
          <ac:chgData name="Kyle Akepanidtaworn" userId="4250081e-2882-4185-9e9c-d3298cc00d78" providerId="ADAL" clId="{E3BEE011-BDE0-4924-857F-571F4CEA325A}" dt="2021-03-11T07:40:50.684" v="443" actId="478"/>
          <ac:spMkLst>
            <pc:docMk/>
            <pc:sldMk cId="3225415074" sldId="2146846410"/>
            <ac:spMk id="81" creationId="{17A22A1B-34BC-4122-9B74-4CDD7BE97D44}"/>
          </ac:spMkLst>
        </pc:spChg>
        <pc:spChg chg="mod">
          <ac:chgData name="Kyle Akepanidtaworn" userId="4250081e-2882-4185-9e9c-d3298cc00d78" providerId="ADAL" clId="{E3BEE011-BDE0-4924-857F-571F4CEA325A}" dt="2021-03-11T07:40:30.570" v="420"/>
          <ac:spMkLst>
            <pc:docMk/>
            <pc:sldMk cId="3225415074" sldId="2146846410"/>
            <ac:spMk id="83" creationId="{61A34490-78F2-4DAD-A689-EA16052801E2}"/>
          </ac:spMkLst>
        </pc:spChg>
        <pc:spChg chg="mod">
          <ac:chgData name="Kyle Akepanidtaworn" userId="4250081e-2882-4185-9e9c-d3298cc00d78" providerId="ADAL" clId="{E3BEE011-BDE0-4924-857F-571F4CEA325A}" dt="2021-03-11T07:40:30.570" v="420"/>
          <ac:spMkLst>
            <pc:docMk/>
            <pc:sldMk cId="3225415074" sldId="2146846410"/>
            <ac:spMk id="84" creationId="{FD56C400-81C7-4D84-82C0-531B5906D406}"/>
          </ac:spMkLst>
        </pc:spChg>
        <pc:spChg chg="mod">
          <ac:chgData name="Kyle Akepanidtaworn" userId="4250081e-2882-4185-9e9c-d3298cc00d78" providerId="ADAL" clId="{E3BEE011-BDE0-4924-857F-571F4CEA325A}" dt="2021-03-11T07:40:30.570" v="420"/>
          <ac:spMkLst>
            <pc:docMk/>
            <pc:sldMk cId="3225415074" sldId="2146846410"/>
            <ac:spMk id="85" creationId="{16332EC8-E225-4899-8436-795BADBEF014}"/>
          </ac:spMkLst>
        </pc:spChg>
        <pc:spChg chg="mod">
          <ac:chgData name="Kyle Akepanidtaworn" userId="4250081e-2882-4185-9e9c-d3298cc00d78" providerId="ADAL" clId="{E3BEE011-BDE0-4924-857F-571F4CEA325A}" dt="2021-03-11T07:40:30.570" v="420"/>
          <ac:spMkLst>
            <pc:docMk/>
            <pc:sldMk cId="3225415074" sldId="2146846410"/>
            <ac:spMk id="86" creationId="{496DDFC0-1A7F-43ED-9C1C-1AC2A7CBA05E}"/>
          </ac:spMkLst>
        </pc:spChg>
        <pc:spChg chg="add mod">
          <ac:chgData name="Kyle Akepanidtaworn" userId="4250081e-2882-4185-9e9c-d3298cc00d78" providerId="ADAL" clId="{E3BEE011-BDE0-4924-857F-571F4CEA325A}" dt="2021-03-11T07:43:18.687" v="503" actId="571"/>
          <ac:spMkLst>
            <pc:docMk/>
            <pc:sldMk cId="3225415074" sldId="2146846410"/>
            <ac:spMk id="99" creationId="{65B933A2-6FBA-4607-844D-FF6811D8A979}"/>
          </ac:spMkLst>
        </pc:spChg>
        <pc:spChg chg="mod">
          <ac:chgData name="Kyle Akepanidtaworn" userId="4250081e-2882-4185-9e9c-d3298cc00d78" providerId="ADAL" clId="{E3BEE011-BDE0-4924-857F-571F4CEA325A}" dt="2021-03-17T03:09:22.994" v="1339" actId="1076"/>
          <ac:spMkLst>
            <pc:docMk/>
            <pc:sldMk cId="3225415074" sldId="2146846410"/>
            <ac:spMk id="342" creationId="{6C84C8E9-F02B-4662-B8A1-9B5149D32C1F}"/>
          </ac:spMkLst>
        </pc:spChg>
        <pc:spChg chg="del">
          <ac:chgData name="Kyle Akepanidtaworn" userId="4250081e-2882-4185-9e9c-d3298cc00d78" providerId="ADAL" clId="{E3BEE011-BDE0-4924-857F-571F4CEA325A}" dt="2021-03-11T07:36:58.748" v="343" actId="478"/>
          <ac:spMkLst>
            <pc:docMk/>
            <pc:sldMk cId="3225415074" sldId="2146846410"/>
            <ac:spMk id="343" creationId="{5F470F01-E656-41CF-8214-A40B1CCDCFCE}"/>
          </ac:spMkLst>
        </pc:spChg>
        <pc:spChg chg="mod">
          <ac:chgData name="Kyle Akepanidtaworn" userId="4250081e-2882-4185-9e9c-d3298cc00d78" providerId="ADAL" clId="{E3BEE011-BDE0-4924-857F-571F4CEA325A}" dt="2021-03-17T03:07:42.938" v="1293" actId="14100"/>
          <ac:spMkLst>
            <pc:docMk/>
            <pc:sldMk cId="3225415074" sldId="2146846410"/>
            <ac:spMk id="344" creationId="{3F26284E-287C-45CE-BE3B-9A9150294051}"/>
          </ac:spMkLst>
        </pc:spChg>
        <pc:spChg chg="mod">
          <ac:chgData name="Kyle Akepanidtaworn" userId="4250081e-2882-4185-9e9c-d3298cc00d78" providerId="ADAL" clId="{E3BEE011-BDE0-4924-857F-571F4CEA325A}" dt="2021-03-17T03:04:08.354" v="1183" actId="14100"/>
          <ac:spMkLst>
            <pc:docMk/>
            <pc:sldMk cId="3225415074" sldId="2146846410"/>
            <ac:spMk id="345" creationId="{AA71F304-2FE3-4257-82D7-6CD0854697D8}"/>
          </ac:spMkLst>
        </pc:spChg>
        <pc:spChg chg="del">
          <ac:chgData name="Kyle Akepanidtaworn" userId="4250081e-2882-4185-9e9c-d3298cc00d78" providerId="ADAL" clId="{E3BEE011-BDE0-4924-857F-571F4CEA325A}" dt="2021-03-11T07:37:07.723" v="346" actId="478"/>
          <ac:spMkLst>
            <pc:docMk/>
            <pc:sldMk cId="3225415074" sldId="2146846410"/>
            <ac:spMk id="356" creationId="{43796AFE-60B3-4E42-A257-D866931FFDD4}"/>
          </ac:spMkLst>
        </pc:spChg>
        <pc:spChg chg="del mod">
          <ac:chgData name="Kyle Akepanidtaworn" userId="4250081e-2882-4185-9e9c-d3298cc00d78" providerId="ADAL" clId="{E3BEE011-BDE0-4924-857F-571F4CEA325A}" dt="2021-03-17T03:01:57.447" v="1077" actId="478"/>
          <ac:spMkLst>
            <pc:docMk/>
            <pc:sldMk cId="3225415074" sldId="2146846410"/>
            <ac:spMk id="357" creationId="{201B94F0-6F07-4359-ADAD-69805746FB67}"/>
          </ac:spMkLst>
        </pc:spChg>
        <pc:spChg chg="mod">
          <ac:chgData name="Kyle Akepanidtaworn" userId="4250081e-2882-4185-9e9c-d3298cc00d78" providerId="ADAL" clId="{E3BEE011-BDE0-4924-857F-571F4CEA325A}" dt="2021-03-17T03:08:31.251" v="1328" actId="1076"/>
          <ac:spMkLst>
            <pc:docMk/>
            <pc:sldMk cId="3225415074" sldId="2146846410"/>
            <ac:spMk id="358" creationId="{9FA4CE44-18BC-49AB-AF76-7E72F4A7C9FD}"/>
          </ac:spMkLst>
        </pc:spChg>
        <pc:spChg chg="mod">
          <ac:chgData name="Kyle Akepanidtaworn" userId="4250081e-2882-4185-9e9c-d3298cc00d78" providerId="ADAL" clId="{E3BEE011-BDE0-4924-857F-571F4CEA325A}" dt="2021-03-17T03:05:17.268" v="1230" actId="20577"/>
          <ac:spMkLst>
            <pc:docMk/>
            <pc:sldMk cId="3225415074" sldId="2146846410"/>
            <ac:spMk id="359" creationId="{36F97A8A-23D5-4138-A19D-85D92522A932}"/>
          </ac:spMkLst>
        </pc:spChg>
        <pc:spChg chg="del">
          <ac:chgData name="Kyle Akepanidtaworn" userId="4250081e-2882-4185-9e9c-d3298cc00d78" providerId="ADAL" clId="{E3BEE011-BDE0-4924-857F-571F4CEA325A}" dt="2021-03-11T07:37:10.251" v="347" actId="478"/>
          <ac:spMkLst>
            <pc:docMk/>
            <pc:sldMk cId="3225415074" sldId="2146846410"/>
            <ac:spMk id="360" creationId="{825370B0-2FAE-4DF5-A7B6-EE894564C020}"/>
          </ac:spMkLst>
        </pc:spChg>
        <pc:spChg chg="mod">
          <ac:chgData name="Kyle Akepanidtaworn" userId="4250081e-2882-4185-9e9c-d3298cc00d78" providerId="ADAL" clId="{E3BEE011-BDE0-4924-857F-571F4CEA325A}" dt="2021-03-17T03:07:13.642" v="1284" actId="1076"/>
          <ac:spMkLst>
            <pc:docMk/>
            <pc:sldMk cId="3225415074" sldId="2146846410"/>
            <ac:spMk id="361" creationId="{D51780CF-895F-490B-86CE-713871096CB7}"/>
          </ac:spMkLst>
        </pc:spChg>
        <pc:spChg chg="mod">
          <ac:chgData name="Kyle Akepanidtaworn" userId="4250081e-2882-4185-9e9c-d3298cc00d78" providerId="ADAL" clId="{E3BEE011-BDE0-4924-857F-571F4CEA325A}" dt="2021-03-17T03:09:32.370" v="1341" actId="1076"/>
          <ac:spMkLst>
            <pc:docMk/>
            <pc:sldMk cId="3225415074" sldId="2146846410"/>
            <ac:spMk id="368" creationId="{202D8931-5F0E-46B7-A7EE-4BAA1614FDE1}"/>
          </ac:spMkLst>
        </pc:spChg>
        <pc:spChg chg="mod">
          <ac:chgData name="Kyle Akepanidtaworn" userId="4250081e-2882-4185-9e9c-d3298cc00d78" providerId="ADAL" clId="{E3BEE011-BDE0-4924-857F-571F4CEA325A}" dt="2021-03-17T03:09:32.370" v="1341" actId="1076"/>
          <ac:spMkLst>
            <pc:docMk/>
            <pc:sldMk cId="3225415074" sldId="2146846410"/>
            <ac:spMk id="369" creationId="{79B2AF19-0E9A-4DB2-906C-2AEDBD56BA17}"/>
          </ac:spMkLst>
        </pc:spChg>
        <pc:spChg chg="mod">
          <ac:chgData name="Kyle Akepanidtaworn" userId="4250081e-2882-4185-9e9c-d3298cc00d78" providerId="ADAL" clId="{E3BEE011-BDE0-4924-857F-571F4CEA325A}" dt="2021-03-17T03:08:28.611" v="1327" actId="14100"/>
          <ac:spMkLst>
            <pc:docMk/>
            <pc:sldMk cId="3225415074" sldId="2146846410"/>
            <ac:spMk id="370" creationId="{A3BDBF95-9A73-4F40-AB13-0715C9DD974E}"/>
          </ac:spMkLst>
        </pc:spChg>
        <pc:spChg chg="mod">
          <ac:chgData name="Kyle Akepanidtaworn" userId="4250081e-2882-4185-9e9c-d3298cc00d78" providerId="ADAL" clId="{E3BEE011-BDE0-4924-857F-571F4CEA325A}" dt="2021-03-17T03:08:23.994" v="1323" actId="1076"/>
          <ac:spMkLst>
            <pc:docMk/>
            <pc:sldMk cId="3225415074" sldId="2146846410"/>
            <ac:spMk id="371" creationId="{2EA07D12-9E35-4A3D-B1BD-94CFF2E7B0A5}"/>
          </ac:spMkLst>
        </pc:spChg>
        <pc:spChg chg="del mod">
          <ac:chgData name="Kyle Akepanidtaworn" userId="4250081e-2882-4185-9e9c-d3298cc00d78" providerId="ADAL" clId="{E3BEE011-BDE0-4924-857F-571F4CEA325A}" dt="2021-03-17T03:01:57.447" v="1077" actId="478"/>
          <ac:spMkLst>
            <pc:docMk/>
            <pc:sldMk cId="3225415074" sldId="2146846410"/>
            <ac:spMk id="374" creationId="{6D152FDC-427F-4D16-87AF-CEDE52B62E65}"/>
          </ac:spMkLst>
        </pc:spChg>
        <pc:spChg chg="del mod">
          <ac:chgData name="Kyle Akepanidtaworn" userId="4250081e-2882-4185-9e9c-d3298cc00d78" providerId="ADAL" clId="{E3BEE011-BDE0-4924-857F-571F4CEA325A}" dt="2021-03-17T03:05:40.329" v="1263" actId="478"/>
          <ac:spMkLst>
            <pc:docMk/>
            <pc:sldMk cId="3225415074" sldId="2146846410"/>
            <ac:spMk id="375" creationId="{C5C7CFD7-0180-449B-BF0F-F5AE7BC72423}"/>
          </ac:spMkLst>
        </pc:spChg>
        <pc:spChg chg="del">
          <ac:chgData name="Kyle Akepanidtaworn" userId="4250081e-2882-4185-9e9c-d3298cc00d78" providerId="ADAL" clId="{E3BEE011-BDE0-4924-857F-571F4CEA325A}" dt="2021-03-11T07:37:07.723" v="346" actId="478"/>
          <ac:spMkLst>
            <pc:docMk/>
            <pc:sldMk cId="3225415074" sldId="2146846410"/>
            <ac:spMk id="376" creationId="{F9D8EAF9-4B1A-4B86-B6D9-599D2E9D8458}"/>
          </ac:spMkLst>
        </pc:spChg>
        <pc:spChg chg="del">
          <ac:chgData name="Kyle Akepanidtaworn" userId="4250081e-2882-4185-9e9c-d3298cc00d78" providerId="ADAL" clId="{E3BEE011-BDE0-4924-857F-571F4CEA325A}" dt="2021-03-11T07:37:07.723" v="346" actId="478"/>
          <ac:spMkLst>
            <pc:docMk/>
            <pc:sldMk cId="3225415074" sldId="2146846410"/>
            <ac:spMk id="377" creationId="{D06703FB-72D1-44C6-872C-706BF6C97A7C}"/>
          </ac:spMkLst>
        </pc:spChg>
        <pc:spChg chg="del">
          <ac:chgData name="Kyle Akepanidtaworn" userId="4250081e-2882-4185-9e9c-d3298cc00d78" providerId="ADAL" clId="{E3BEE011-BDE0-4924-857F-571F4CEA325A}" dt="2021-03-11T07:37:07.723" v="346" actId="478"/>
          <ac:spMkLst>
            <pc:docMk/>
            <pc:sldMk cId="3225415074" sldId="2146846410"/>
            <ac:spMk id="378" creationId="{E2A370D7-50FC-4F38-9242-E60F9BE23E87}"/>
          </ac:spMkLst>
        </pc:spChg>
        <pc:spChg chg="del">
          <ac:chgData name="Kyle Akepanidtaworn" userId="4250081e-2882-4185-9e9c-d3298cc00d78" providerId="ADAL" clId="{E3BEE011-BDE0-4924-857F-571F4CEA325A}" dt="2021-03-11T07:37:07.723" v="346" actId="478"/>
          <ac:spMkLst>
            <pc:docMk/>
            <pc:sldMk cId="3225415074" sldId="2146846410"/>
            <ac:spMk id="380" creationId="{7E95CF72-6711-4CFC-A3C6-259C4C7C8503}"/>
          </ac:spMkLst>
        </pc:spChg>
        <pc:spChg chg="del mod">
          <ac:chgData name="Kyle Akepanidtaworn" userId="4250081e-2882-4185-9e9c-d3298cc00d78" providerId="ADAL" clId="{E3BEE011-BDE0-4924-857F-571F4CEA325A}" dt="2021-03-17T03:05:40.329" v="1263" actId="478"/>
          <ac:spMkLst>
            <pc:docMk/>
            <pc:sldMk cId="3225415074" sldId="2146846410"/>
            <ac:spMk id="381" creationId="{C652B4C5-FE5D-43A1-8763-5E3BF18D019A}"/>
          </ac:spMkLst>
        </pc:spChg>
        <pc:spChg chg="del">
          <ac:chgData name="Kyle Akepanidtaworn" userId="4250081e-2882-4185-9e9c-d3298cc00d78" providerId="ADAL" clId="{E3BEE011-BDE0-4924-857F-571F4CEA325A}" dt="2021-03-11T07:37:07.723" v="346" actId="478"/>
          <ac:spMkLst>
            <pc:docMk/>
            <pc:sldMk cId="3225415074" sldId="2146846410"/>
            <ac:spMk id="382" creationId="{B139A9E3-937D-4E8C-9388-C520F2F67844}"/>
          </ac:spMkLst>
        </pc:spChg>
        <pc:spChg chg="del">
          <ac:chgData name="Kyle Akepanidtaworn" userId="4250081e-2882-4185-9e9c-d3298cc00d78" providerId="ADAL" clId="{E3BEE011-BDE0-4924-857F-571F4CEA325A}" dt="2021-03-11T07:37:07.723" v="346" actId="478"/>
          <ac:spMkLst>
            <pc:docMk/>
            <pc:sldMk cId="3225415074" sldId="2146846410"/>
            <ac:spMk id="383" creationId="{57163687-DCEE-4A67-9B76-EA84556981B2}"/>
          </ac:spMkLst>
        </pc:spChg>
        <pc:spChg chg="del">
          <ac:chgData name="Kyle Akepanidtaworn" userId="4250081e-2882-4185-9e9c-d3298cc00d78" providerId="ADAL" clId="{E3BEE011-BDE0-4924-857F-571F4CEA325A}" dt="2021-03-11T07:37:07.723" v="346" actId="478"/>
          <ac:spMkLst>
            <pc:docMk/>
            <pc:sldMk cId="3225415074" sldId="2146846410"/>
            <ac:spMk id="384" creationId="{8668F8FD-C4FE-4C4C-9069-ABFD78A6217E}"/>
          </ac:spMkLst>
        </pc:spChg>
        <pc:spChg chg="del mod">
          <ac:chgData name="Kyle Akepanidtaworn" userId="4250081e-2882-4185-9e9c-d3298cc00d78" providerId="ADAL" clId="{E3BEE011-BDE0-4924-857F-571F4CEA325A}" dt="2021-03-11T07:40:23.533" v="419" actId="478"/>
          <ac:spMkLst>
            <pc:docMk/>
            <pc:sldMk cId="3225415074" sldId="2146846410"/>
            <ac:spMk id="386" creationId="{DD661376-041D-4C17-9537-9B4ABBB2543B}"/>
          </ac:spMkLst>
        </pc:spChg>
        <pc:spChg chg="del mod">
          <ac:chgData name="Kyle Akepanidtaworn" userId="4250081e-2882-4185-9e9c-d3298cc00d78" providerId="ADAL" clId="{E3BEE011-BDE0-4924-857F-571F4CEA325A}" dt="2021-03-11T07:40:23.533" v="419" actId="478"/>
          <ac:spMkLst>
            <pc:docMk/>
            <pc:sldMk cId="3225415074" sldId="2146846410"/>
            <ac:spMk id="388" creationId="{A47E8E22-4A08-4629-B7ED-CA5BBF4D9C50}"/>
          </ac:spMkLst>
        </pc:spChg>
        <pc:spChg chg="del">
          <ac:chgData name="Kyle Akepanidtaworn" userId="4250081e-2882-4185-9e9c-d3298cc00d78" providerId="ADAL" clId="{E3BEE011-BDE0-4924-857F-571F4CEA325A}" dt="2021-03-11T07:43:20.892" v="504" actId="478"/>
          <ac:spMkLst>
            <pc:docMk/>
            <pc:sldMk cId="3225415074" sldId="2146846410"/>
            <ac:spMk id="390" creationId="{A2B5DE41-FE3A-43E7-BA4F-7AA30B50402B}"/>
          </ac:spMkLst>
        </pc:spChg>
        <pc:spChg chg="del">
          <ac:chgData name="Kyle Akepanidtaworn" userId="4250081e-2882-4185-9e9c-d3298cc00d78" providerId="ADAL" clId="{E3BEE011-BDE0-4924-857F-571F4CEA325A}" dt="2021-03-11T07:43:20.892" v="504" actId="478"/>
          <ac:spMkLst>
            <pc:docMk/>
            <pc:sldMk cId="3225415074" sldId="2146846410"/>
            <ac:spMk id="391" creationId="{4910265E-F381-46F2-B2FD-B0981446C92C}"/>
          </ac:spMkLst>
        </pc:spChg>
        <pc:spChg chg="mod">
          <ac:chgData name="Kyle Akepanidtaworn" userId="4250081e-2882-4185-9e9c-d3298cc00d78" providerId="ADAL" clId="{E3BEE011-BDE0-4924-857F-571F4CEA325A}" dt="2021-03-17T03:09:22.994" v="1339" actId="1076"/>
          <ac:spMkLst>
            <pc:docMk/>
            <pc:sldMk cId="3225415074" sldId="2146846410"/>
            <ac:spMk id="392" creationId="{86F8F462-0607-4CCD-80FB-152A183E5665}"/>
          </ac:spMkLst>
        </pc:spChg>
        <pc:spChg chg="del mod">
          <ac:chgData name="Kyle Akepanidtaworn" userId="4250081e-2882-4185-9e9c-d3298cc00d78" providerId="ADAL" clId="{E3BEE011-BDE0-4924-857F-571F4CEA325A}" dt="2021-03-11T07:44:25.496" v="516" actId="478"/>
          <ac:spMkLst>
            <pc:docMk/>
            <pc:sldMk cId="3225415074" sldId="2146846410"/>
            <ac:spMk id="395" creationId="{437FEEB4-6309-4618-93FE-401A9A3CEF12}"/>
          </ac:spMkLst>
        </pc:spChg>
        <pc:spChg chg="del mod">
          <ac:chgData name="Kyle Akepanidtaworn" userId="4250081e-2882-4185-9e9c-d3298cc00d78" providerId="ADAL" clId="{E3BEE011-BDE0-4924-857F-571F4CEA325A}" dt="2021-03-11T07:44:25.496" v="516" actId="478"/>
          <ac:spMkLst>
            <pc:docMk/>
            <pc:sldMk cId="3225415074" sldId="2146846410"/>
            <ac:spMk id="396" creationId="{B2293E90-C4E2-4C36-B853-1610B51B6857}"/>
          </ac:spMkLst>
        </pc:spChg>
        <pc:spChg chg="del">
          <ac:chgData name="Kyle Akepanidtaworn" userId="4250081e-2882-4185-9e9c-d3298cc00d78" providerId="ADAL" clId="{E3BEE011-BDE0-4924-857F-571F4CEA325A}" dt="2021-03-11T07:43:20.892" v="504" actId="478"/>
          <ac:spMkLst>
            <pc:docMk/>
            <pc:sldMk cId="3225415074" sldId="2146846410"/>
            <ac:spMk id="401" creationId="{6347CF03-0C73-4F95-AC4D-C87D080DB270}"/>
          </ac:spMkLst>
        </pc:spChg>
        <pc:spChg chg="del">
          <ac:chgData name="Kyle Akepanidtaworn" userId="4250081e-2882-4185-9e9c-d3298cc00d78" providerId="ADAL" clId="{E3BEE011-BDE0-4924-857F-571F4CEA325A}" dt="2021-03-11T07:43:20.892" v="504" actId="478"/>
          <ac:spMkLst>
            <pc:docMk/>
            <pc:sldMk cId="3225415074" sldId="2146846410"/>
            <ac:spMk id="402" creationId="{3C19C026-5789-43A3-BBC0-52AFA4EAD4AE}"/>
          </ac:spMkLst>
        </pc:spChg>
        <pc:spChg chg="del">
          <ac:chgData name="Kyle Akepanidtaworn" userId="4250081e-2882-4185-9e9c-d3298cc00d78" providerId="ADAL" clId="{E3BEE011-BDE0-4924-857F-571F4CEA325A}" dt="2021-03-11T07:43:20.892" v="504" actId="478"/>
          <ac:spMkLst>
            <pc:docMk/>
            <pc:sldMk cId="3225415074" sldId="2146846410"/>
            <ac:spMk id="403" creationId="{8426694B-A659-4F8B-BD32-575EB2B56FC9}"/>
          </ac:spMkLst>
        </pc:spChg>
        <pc:spChg chg="del">
          <ac:chgData name="Kyle Akepanidtaworn" userId="4250081e-2882-4185-9e9c-d3298cc00d78" providerId="ADAL" clId="{E3BEE011-BDE0-4924-857F-571F4CEA325A}" dt="2021-03-11T07:43:20.892" v="504" actId="478"/>
          <ac:spMkLst>
            <pc:docMk/>
            <pc:sldMk cId="3225415074" sldId="2146846410"/>
            <ac:spMk id="404" creationId="{20751295-4885-4C69-85A3-9B68D77C31BC}"/>
          </ac:spMkLst>
        </pc:spChg>
        <pc:spChg chg="del">
          <ac:chgData name="Kyle Akepanidtaworn" userId="4250081e-2882-4185-9e9c-d3298cc00d78" providerId="ADAL" clId="{E3BEE011-BDE0-4924-857F-571F4CEA325A}" dt="2021-03-11T07:43:20.892" v="504" actId="478"/>
          <ac:spMkLst>
            <pc:docMk/>
            <pc:sldMk cId="3225415074" sldId="2146846410"/>
            <ac:spMk id="405" creationId="{747E521D-C9D9-4A51-9238-BD4A14F412C6}"/>
          </ac:spMkLst>
        </pc:spChg>
        <pc:spChg chg="del mod">
          <ac:chgData name="Kyle Akepanidtaworn" userId="4250081e-2882-4185-9e9c-d3298cc00d78" providerId="ADAL" clId="{E3BEE011-BDE0-4924-857F-571F4CEA325A}" dt="2021-03-11T07:40:23.533" v="419" actId="478"/>
          <ac:spMkLst>
            <pc:docMk/>
            <pc:sldMk cId="3225415074" sldId="2146846410"/>
            <ac:spMk id="407" creationId="{2C7E7DFE-ACCE-4A74-81FC-C450825D0561}"/>
          </ac:spMkLst>
        </pc:spChg>
        <pc:spChg chg="del mod">
          <ac:chgData name="Kyle Akepanidtaworn" userId="4250081e-2882-4185-9e9c-d3298cc00d78" providerId="ADAL" clId="{E3BEE011-BDE0-4924-857F-571F4CEA325A}" dt="2021-03-11T07:40:23.533" v="419" actId="478"/>
          <ac:spMkLst>
            <pc:docMk/>
            <pc:sldMk cId="3225415074" sldId="2146846410"/>
            <ac:spMk id="408" creationId="{4CF138F1-AC90-460D-B740-485BE0D016C5}"/>
          </ac:spMkLst>
        </pc:spChg>
        <pc:spChg chg="del mod">
          <ac:chgData name="Kyle Akepanidtaworn" userId="4250081e-2882-4185-9e9c-d3298cc00d78" providerId="ADAL" clId="{E3BEE011-BDE0-4924-857F-571F4CEA325A}" dt="2021-03-11T07:40:23.533" v="419" actId="478"/>
          <ac:spMkLst>
            <pc:docMk/>
            <pc:sldMk cId="3225415074" sldId="2146846410"/>
            <ac:spMk id="409" creationId="{9C84237E-A75F-4848-9666-9614E57CDA2E}"/>
          </ac:spMkLst>
        </pc:spChg>
        <pc:grpChg chg="add mod">
          <ac:chgData name="Kyle Akepanidtaworn" userId="4250081e-2882-4185-9e9c-d3298cc00d78" providerId="ADAL" clId="{E3BEE011-BDE0-4924-857F-571F4CEA325A}" dt="2021-03-17T03:04:12.684" v="1184" actId="1076"/>
          <ac:grpSpMkLst>
            <pc:docMk/>
            <pc:sldMk cId="3225415074" sldId="2146846410"/>
            <ac:grpSpMk id="15" creationId="{F9992C74-D95F-4A6F-8677-F122BBBB6D77}"/>
          </ac:grpSpMkLst>
        </pc:grpChg>
        <pc:grpChg chg="add del mod">
          <ac:chgData name="Kyle Akepanidtaworn" userId="4250081e-2882-4185-9e9c-d3298cc00d78" providerId="ADAL" clId="{E3BEE011-BDE0-4924-857F-571F4CEA325A}" dt="2021-03-17T03:07:20.725" v="1285" actId="165"/>
          <ac:grpSpMkLst>
            <pc:docMk/>
            <pc:sldMk cId="3225415074" sldId="2146846410"/>
            <ac:grpSpMk id="17" creationId="{594BEA95-3529-4B9C-B1B0-BA4F872DB6C3}"/>
          </ac:grpSpMkLst>
        </pc:grpChg>
        <pc:grpChg chg="add mod">
          <ac:chgData name="Kyle Akepanidtaworn" userId="4250081e-2882-4185-9e9c-d3298cc00d78" providerId="ADAL" clId="{E3BEE011-BDE0-4924-857F-571F4CEA325A}" dt="2021-03-17T03:09:22.994" v="1339" actId="1076"/>
          <ac:grpSpMkLst>
            <pc:docMk/>
            <pc:sldMk cId="3225415074" sldId="2146846410"/>
            <ac:grpSpMk id="20" creationId="{FD5BF700-9573-4A61-8933-57BA5FFF89EA}"/>
          </ac:grpSpMkLst>
        </pc:grpChg>
        <pc:grpChg chg="add mod">
          <ac:chgData name="Kyle Akepanidtaworn" userId="4250081e-2882-4185-9e9c-d3298cc00d78" providerId="ADAL" clId="{E3BEE011-BDE0-4924-857F-571F4CEA325A}" dt="2021-03-17T03:09:42.971" v="1344" actId="1076"/>
          <ac:grpSpMkLst>
            <pc:docMk/>
            <pc:sldMk cId="3225415074" sldId="2146846410"/>
            <ac:grpSpMk id="21" creationId="{46EF8EC8-1F30-4884-BA0D-A86D4E709D5F}"/>
          </ac:grpSpMkLst>
        </pc:grpChg>
        <pc:grpChg chg="add del mod">
          <ac:chgData name="Kyle Akepanidtaworn" userId="4250081e-2882-4185-9e9c-d3298cc00d78" providerId="ADAL" clId="{E3BEE011-BDE0-4924-857F-571F4CEA325A}" dt="2021-03-17T03:05:40.329" v="1263" actId="478"/>
          <ac:grpSpMkLst>
            <pc:docMk/>
            <pc:sldMk cId="3225415074" sldId="2146846410"/>
            <ac:grpSpMk id="82" creationId="{CEECF9FC-00E3-4049-B7FC-90A0AB02AA95}"/>
          </ac:grpSpMkLst>
        </pc:grpChg>
        <pc:grpChg chg="mod">
          <ac:chgData name="Kyle Akepanidtaworn" userId="4250081e-2882-4185-9e9c-d3298cc00d78" providerId="ADAL" clId="{E3BEE011-BDE0-4924-857F-571F4CEA325A}" dt="2021-03-17T03:09:32.370" v="1341" actId="1076"/>
          <ac:grpSpMkLst>
            <pc:docMk/>
            <pc:sldMk cId="3225415074" sldId="2146846410"/>
            <ac:grpSpMk id="362" creationId="{28736625-BBE1-45B5-9819-03634FD4D4ED}"/>
          </ac:grpSpMkLst>
        </pc:grpChg>
        <pc:grpChg chg="mod">
          <ac:chgData name="Kyle Akepanidtaworn" userId="4250081e-2882-4185-9e9c-d3298cc00d78" providerId="ADAL" clId="{E3BEE011-BDE0-4924-857F-571F4CEA325A}" dt="2021-03-17T03:09:27.722" v="1340" actId="14100"/>
          <ac:grpSpMkLst>
            <pc:docMk/>
            <pc:sldMk cId="3225415074" sldId="2146846410"/>
            <ac:grpSpMk id="365" creationId="{BA8EFDAD-17AD-4C3B-84A1-056D1FA1E4E7}"/>
          </ac:grpSpMkLst>
        </pc:grpChg>
        <pc:grpChg chg="del">
          <ac:chgData name="Kyle Akepanidtaworn" userId="4250081e-2882-4185-9e9c-d3298cc00d78" providerId="ADAL" clId="{E3BEE011-BDE0-4924-857F-571F4CEA325A}" dt="2021-03-11T07:43:20.892" v="504" actId="478"/>
          <ac:grpSpMkLst>
            <pc:docMk/>
            <pc:sldMk cId="3225415074" sldId="2146846410"/>
            <ac:grpSpMk id="397" creationId="{6E1836F3-F511-427D-8EE1-62D0BA68E467}"/>
          </ac:grpSpMkLst>
        </pc:grpChg>
        <pc:picChg chg="add mod">
          <ac:chgData name="Kyle Akepanidtaworn" userId="4250081e-2882-4185-9e9c-d3298cc00d78" providerId="ADAL" clId="{E3BEE011-BDE0-4924-857F-571F4CEA325A}" dt="2021-03-17T03:03:29.914" v="1149" actId="1076"/>
          <ac:picMkLst>
            <pc:docMk/>
            <pc:sldMk cId="3225415074" sldId="2146846410"/>
            <ac:picMk id="3" creationId="{56B97888-8B28-4E41-A288-BE7898014AC4}"/>
          </ac:picMkLst>
        </pc:picChg>
        <pc:picChg chg="add del mod">
          <ac:chgData name="Kyle Akepanidtaworn" userId="4250081e-2882-4185-9e9c-d3298cc00d78" providerId="ADAL" clId="{E3BEE011-BDE0-4924-857F-571F4CEA325A}" dt="2021-03-17T03:01:57.447" v="1077" actId="478"/>
          <ac:picMkLst>
            <pc:docMk/>
            <pc:sldMk cId="3225415074" sldId="2146846410"/>
            <ac:picMk id="4" creationId="{C4EE4816-8638-4A6D-B7E8-E6E81861582E}"/>
          </ac:picMkLst>
        </pc:picChg>
        <pc:picChg chg="add mod topLvl">
          <ac:chgData name="Kyle Akepanidtaworn" userId="4250081e-2882-4185-9e9c-d3298cc00d78" providerId="ADAL" clId="{E3BEE011-BDE0-4924-857F-571F4CEA325A}" dt="2021-03-17T03:08:34.610" v="1330" actId="14100"/>
          <ac:picMkLst>
            <pc:docMk/>
            <pc:sldMk cId="3225415074" sldId="2146846410"/>
            <ac:picMk id="9" creationId="{D091F185-5DB8-4416-AFC4-742BE957717C}"/>
          </ac:picMkLst>
        </pc:picChg>
        <pc:picChg chg="del mod">
          <ac:chgData name="Kyle Akepanidtaworn" userId="4250081e-2882-4185-9e9c-d3298cc00d78" providerId="ADAL" clId="{E3BEE011-BDE0-4924-857F-571F4CEA325A}" dt="2021-03-17T03:01:57.447" v="1077" actId="478"/>
          <ac:picMkLst>
            <pc:docMk/>
            <pc:sldMk cId="3225415074" sldId="2146846410"/>
            <ac:picMk id="372" creationId="{51432B68-1C10-477F-87D6-2BEF8E91B17A}"/>
          </ac:picMkLst>
        </pc:picChg>
        <pc:picChg chg="del mod">
          <ac:chgData name="Kyle Akepanidtaworn" userId="4250081e-2882-4185-9e9c-d3298cc00d78" providerId="ADAL" clId="{E3BEE011-BDE0-4924-857F-571F4CEA325A}" dt="2021-03-17T03:05:40.329" v="1263" actId="478"/>
          <ac:picMkLst>
            <pc:docMk/>
            <pc:sldMk cId="3225415074" sldId="2146846410"/>
            <ac:picMk id="373" creationId="{4038E7B3-66D7-43BA-A62A-1EED4262A2DD}"/>
          </ac:picMkLst>
        </pc:picChg>
        <pc:picChg chg="del">
          <ac:chgData name="Kyle Akepanidtaworn" userId="4250081e-2882-4185-9e9c-d3298cc00d78" providerId="ADAL" clId="{E3BEE011-BDE0-4924-857F-571F4CEA325A}" dt="2021-03-11T07:37:07.723" v="346" actId="478"/>
          <ac:picMkLst>
            <pc:docMk/>
            <pc:sldMk cId="3225415074" sldId="2146846410"/>
            <ac:picMk id="379" creationId="{F3239F64-8459-4773-BE62-9C5BE4B6D36D}"/>
          </ac:picMkLst>
        </pc:picChg>
        <pc:picChg chg="del mod">
          <ac:chgData name="Kyle Akepanidtaworn" userId="4250081e-2882-4185-9e9c-d3298cc00d78" providerId="ADAL" clId="{E3BEE011-BDE0-4924-857F-571F4CEA325A}" dt="2021-03-11T07:40:23.533" v="419" actId="478"/>
          <ac:picMkLst>
            <pc:docMk/>
            <pc:sldMk cId="3225415074" sldId="2146846410"/>
            <ac:picMk id="387" creationId="{CBCE5A79-700A-40D5-9617-9A4948005FFB}"/>
          </ac:picMkLst>
        </pc:picChg>
        <pc:picChg chg="del mod">
          <ac:chgData name="Kyle Akepanidtaworn" userId="4250081e-2882-4185-9e9c-d3298cc00d78" providerId="ADAL" clId="{E3BEE011-BDE0-4924-857F-571F4CEA325A}" dt="2021-03-11T07:44:25.496" v="516" actId="478"/>
          <ac:picMkLst>
            <pc:docMk/>
            <pc:sldMk cId="3225415074" sldId="2146846410"/>
            <ac:picMk id="394" creationId="{8E36EA12-EE8C-44B5-8B85-D6002488190D}"/>
          </ac:picMkLst>
        </pc:picChg>
        <pc:cxnChg chg="add mod">
          <ac:chgData name="Kyle Akepanidtaworn" userId="4250081e-2882-4185-9e9c-d3298cc00d78" providerId="ADAL" clId="{E3BEE011-BDE0-4924-857F-571F4CEA325A}" dt="2021-03-17T03:06:58.218" v="1281" actId="14100"/>
          <ac:cxnSpMkLst>
            <pc:docMk/>
            <pc:sldMk cId="3225415074" sldId="2146846410"/>
            <ac:cxnSpMk id="12" creationId="{0CCF4D4B-E1CB-4BC4-88AD-61BB825AB324}"/>
          </ac:cxnSpMkLst>
        </pc:cxnChg>
        <pc:cxnChg chg="add mod">
          <ac:chgData name="Kyle Akepanidtaworn" userId="4250081e-2882-4185-9e9c-d3298cc00d78" providerId="ADAL" clId="{E3BEE011-BDE0-4924-857F-571F4CEA325A}" dt="2021-03-17T03:09:22.626" v="1338" actId="1076"/>
          <ac:cxnSpMkLst>
            <pc:docMk/>
            <pc:sldMk cId="3225415074" sldId="2146846410"/>
            <ac:cxnSpMk id="19" creationId="{2F076671-E697-40A7-8A88-88266548D304}"/>
          </ac:cxnSpMkLst>
        </pc:cxnChg>
        <pc:cxnChg chg="mod">
          <ac:chgData name="Kyle Akepanidtaworn" userId="4250081e-2882-4185-9e9c-d3298cc00d78" providerId="ADAL" clId="{E3BEE011-BDE0-4924-857F-571F4CEA325A}" dt="2021-03-11T07:46:26.889" v="546" actId="14100"/>
          <ac:cxnSpMkLst>
            <pc:docMk/>
            <pc:sldMk cId="3225415074" sldId="2146846410"/>
            <ac:cxnSpMk id="355" creationId="{6B5726F5-DF5B-4A1C-995F-7D4CA8FB7A1B}"/>
          </ac:cxnSpMkLst>
        </pc:cxnChg>
        <pc:cxnChg chg="del">
          <ac:chgData name="Kyle Akepanidtaworn" userId="4250081e-2882-4185-9e9c-d3298cc00d78" providerId="ADAL" clId="{E3BEE011-BDE0-4924-857F-571F4CEA325A}" dt="2021-03-11T07:37:12.135" v="348" actId="478"/>
          <ac:cxnSpMkLst>
            <pc:docMk/>
            <pc:sldMk cId="3225415074" sldId="2146846410"/>
            <ac:cxnSpMk id="385" creationId="{28654068-F06D-416C-A25B-669B10BC5986}"/>
          </ac:cxnSpMkLst>
        </pc:cxnChg>
        <pc:cxnChg chg="del mod">
          <ac:chgData name="Kyle Akepanidtaworn" userId="4250081e-2882-4185-9e9c-d3298cc00d78" providerId="ADAL" clId="{E3BEE011-BDE0-4924-857F-571F4CEA325A}" dt="2021-03-11T07:40:23.533" v="419" actId="478"/>
          <ac:cxnSpMkLst>
            <pc:docMk/>
            <pc:sldMk cId="3225415074" sldId="2146846410"/>
            <ac:cxnSpMk id="389" creationId="{21CDA29C-686D-44B2-A191-785A6DF4FCAE}"/>
          </ac:cxnSpMkLst>
        </pc:cxnChg>
        <pc:cxnChg chg="del mod">
          <ac:chgData name="Kyle Akepanidtaworn" userId="4250081e-2882-4185-9e9c-d3298cc00d78" providerId="ADAL" clId="{E3BEE011-BDE0-4924-857F-571F4CEA325A}" dt="2021-03-17T03:07:51.382" v="1295" actId="478"/>
          <ac:cxnSpMkLst>
            <pc:docMk/>
            <pc:sldMk cId="3225415074" sldId="2146846410"/>
            <ac:cxnSpMk id="393" creationId="{FF34FBF3-CC48-4155-A86A-49F5BF87F748}"/>
          </ac:cxnSpMkLst>
        </pc:cxnChg>
        <pc:cxnChg chg="del">
          <ac:chgData name="Kyle Akepanidtaworn" userId="4250081e-2882-4185-9e9c-d3298cc00d78" providerId="ADAL" clId="{E3BEE011-BDE0-4924-857F-571F4CEA325A}" dt="2021-03-11T07:43:20.892" v="504" actId="478"/>
          <ac:cxnSpMkLst>
            <pc:docMk/>
            <pc:sldMk cId="3225415074" sldId="2146846410"/>
            <ac:cxnSpMk id="406" creationId="{E2264DCC-414A-4A9C-A8B0-F25242F7C7DA}"/>
          </ac:cxnSpMkLst>
        </pc:cxnChg>
      </pc:sldChg>
      <pc:sldChg chg="addSp delSp modSp add del mod">
        <pc:chgData name="Kyle Akepanidtaworn" userId="4250081e-2882-4185-9e9c-d3298cc00d78" providerId="ADAL" clId="{E3BEE011-BDE0-4924-857F-571F4CEA325A}" dt="2021-03-17T03:11:01.713" v="1367" actId="47"/>
        <pc:sldMkLst>
          <pc:docMk/>
          <pc:sldMk cId="2900833553" sldId="2146846411"/>
        </pc:sldMkLst>
        <pc:spChg chg="add mod">
          <ac:chgData name="Kyle Akepanidtaworn" userId="4250081e-2882-4185-9e9c-d3298cc00d78" providerId="ADAL" clId="{E3BEE011-BDE0-4924-857F-571F4CEA325A}" dt="2021-03-11T07:49:10.847" v="573" actId="208"/>
          <ac:spMkLst>
            <pc:docMk/>
            <pc:sldMk cId="2900833553" sldId="2146846411"/>
            <ac:spMk id="3" creationId="{539989C1-6822-4531-8C1B-8BB3BBDA4A2B}"/>
          </ac:spMkLst>
        </pc:spChg>
        <pc:spChg chg="add mod">
          <ac:chgData name="Kyle Akepanidtaworn" userId="4250081e-2882-4185-9e9c-d3298cc00d78" providerId="ADAL" clId="{E3BEE011-BDE0-4924-857F-571F4CEA325A}" dt="2021-03-11T07:50:43.569" v="610" actId="14100"/>
          <ac:spMkLst>
            <pc:docMk/>
            <pc:sldMk cId="2900833553" sldId="2146846411"/>
            <ac:spMk id="17" creationId="{5AB83551-4D02-47B9-A104-0D6DE305B73B}"/>
          </ac:spMkLst>
        </pc:spChg>
        <pc:spChg chg="mod">
          <ac:chgData name="Kyle Akepanidtaworn" userId="4250081e-2882-4185-9e9c-d3298cc00d78" providerId="ADAL" clId="{E3BEE011-BDE0-4924-857F-571F4CEA325A}" dt="2021-03-15T08:06:24.471" v="802" actId="20577"/>
          <ac:spMkLst>
            <pc:docMk/>
            <pc:sldMk cId="2900833553" sldId="2146846411"/>
            <ac:spMk id="361" creationId="{D51780CF-895F-490B-86CE-713871096CB7}"/>
          </ac:spMkLst>
        </pc:spChg>
        <pc:spChg chg="mod">
          <ac:chgData name="Kyle Akepanidtaworn" userId="4250081e-2882-4185-9e9c-d3298cc00d78" providerId="ADAL" clId="{E3BEE011-BDE0-4924-857F-571F4CEA325A}" dt="2021-03-15T08:06:30.157" v="813" actId="20577"/>
          <ac:spMkLst>
            <pc:docMk/>
            <pc:sldMk cId="2900833553" sldId="2146846411"/>
            <ac:spMk id="392" creationId="{86F8F462-0607-4CCD-80FB-152A183E5665}"/>
          </ac:spMkLst>
        </pc:spChg>
        <pc:picChg chg="del mod">
          <ac:chgData name="Kyle Akepanidtaworn" userId="4250081e-2882-4185-9e9c-d3298cc00d78" providerId="ADAL" clId="{E3BEE011-BDE0-4924-857F-571F4CEA325A}" dt="2021-03-11T07:51:51.490" v="617" actId="21"/>
          <ac:picMkLst>
            <pc:docMk/>
            <pc:sldMk cId="2900833553" sldId="2146846411"/>
            <ac:picMk id="1026" creationId="{3D5A4CC1-DC17-479F-B692-746F9345D03E}"/>
          </ac:picMkLst>
        </pc:picChg>
        <pc:cxnChg chg="add mod">
          <ac:chgData name="Kyle Akepanidtaworn" userId="4250081e-2882-4185-9e9c-d3298cc00d78" providerId="ADAL" clId="{E3BEE011-BDE0-4924-857F-571F4CEA325A}" dt="2021-03-11T07:52:48.322" v="632" actId="14100"/>
          <ac:cxnSpMkLst>
            <pc:docMk/>
            <pc:sldMk cId="2900833553" sldId="2146846411"/>
            <ac:cxnSpMk id="7" creationId="{1A3C8173-2E2F-4042-8B83-93FD11E857B4}"/>
          </ac:cxnSpMkLst>
        </pc:cxnChg>
      </pc:sldChg>
      <pc:sldChg chg="addSp">
        <pc:chgData name="Kyle Akepanidtaworn" userId="4250081e-2882-4185-9e9c-d3298cc00d78" providerId="ADAL" clId="{E3BEE011-BDE0-4924-857F-571F4CEA325A}" dt="2021-03-11T07:51:38.069" v="611"/>
        <pc:sldMkLst>
          <pc:docMk/>
          <pc:sldMk cId="4282795465" sldId="2146846411"/>
        </pc:sldMkLst>
        <pc:picChg chg="add">
          <ac:chgData name="Kyle Akepanidtaworn" userId="4250081e-2882-4185-9e9c-d3298cc00d78" providerId="ADAL" clId="{E3BEE011-BDE0-4924-857F-571F4CEA325A}" dt="2021-03-11T07:51:38.069" v="611"/>
          <ac:picMkLst>
            <pc:docMk/>
            <pc:sldMk cId="4282795465" sldId="2146846411"/>
            <ac:picMk id="1026" creationId="{3D5A4CC1-DC17-479F-B692-746F9345D03E}"/>
          </ac:picMkLst>
        </pc:picChg>
      </pc:sldChg>
      <pc:sldChg chg="addSp delSp modSp add del mod">
        <pc:chgData name="Kyle Akepanidtaworn" userId="4250081e-2882-4185-9e9c-d3298cc00d78" providerId="ADAL" clId="{E3BEE011-BDE0-4924-857F-571F4CEA325A}" dt="2021-03-17T03:11:04.096" v="1368" actId="47"/>
        <pc:sldMkLst>
          <pc:docMk/>
          <pc:sldMk cId="156154000" sldId="2146846412"/>
        </pc:sldMkLst>
        <pc:picChg chg="mod">
          <ac:chgData name="Kyle Akepanidtaworn" userId="4250081e-2882-4185-9e9c-d3298cc00d78" providerId="ADAL" clId="{E3BEE011-BDE0-4924-857F-571F4CEA325A}" dt="2021-03-11T07:52:10.946" v="626" actId="1076"/>
          <ac:picMkLst>
            <pc:docMk/>
            <pc:sldMk cId="156154000" sldId="2146846412"/>
            <ac:picMk id="3074" creationId="{C7901959-AD3D-44D0-BDAC-8E491F573AD3}"/>
          </ac:picMkLst>
        </pc:picChg>
        <pc:cxnChg chg="del">
          <ac:chgData name="Kyle Akepanidtaworn" userId="4250081e-2882-4185-9e9c-d3298cc00d78" providerId="ADAL" clId="{E3BEE011-BDE0-4924-857F-571F4CEA325A}" dt="2021-03-11T07:53:29.076" v="663" actId="478"/>
          <ac:cxnSpMkLst>
            <pc:docMk/>
            <pc:sldMk cId="156154000" sldId="2146846412"/>
            <ac:cxnSpMk id="7" creationId="{1A3C8173-2E2F-4042-8B83-93FD11E857B4}"/>
          </ac:cxnSpMkLst>
        </pc:cxnChg>
        <pc:cxnChg chg="add mod">
          <ac:chgData name="Kyle Akepanidtaworn" userId="4250081e-2882-4185-9e9c-d3298cc00d78" providerId="ADAL" clId="{E3BEE011-BDE0-4924-857F-571F4CEA325A}" dt="2021-03-11T07:53:29.847" v="664" actId="22"/>
          <ac:cxnSpMkLst>
            <pc:docMk/>
            <pc:sldMk cId="156154000" sldId="2146846412"/>
            <ac:cxnSpMk id="14" creationId="{C1780A3F-671C-4C0B-A75D-87052AC810C2}"/>
          </ac:cxnSpMkLst>
        </pc:cxnChg>
      </pc:sldChg>
      <pc:sldChg chg="addSp">
        <pc:chgData name="Kyle Akepanidtaworn" userId="4250081e-2882-4185-9e9c-d3298cc00d78" providerId="ADAL" clId="{E3BEE011-BDE0-4924-857F-571F4CEA325A}" dt="2021-03-11T07:51:59.148" v="621"/>
        <pc:sldMkLst>
          <pc:docMk/>
          <pc:sldMk cId="2574714666" sldId="2146846412"/>
        </pc:sldMkLst>
        <pc:picChg chg="add">
          <ac:chgData name="Kyle Akepanidtaworn" userId="4250081e-2882-4185-9e9c-d3298cc00d78" providerId="ADAL" clId="{E3BEE011-BDE0-4924-857F-571F4CEA325A}" dt="2021-03-11T07:51:59.148" v="621"/>
          <ac:picMkLst>
            <pc:docMk/>
            <pc:sldMk cId="2574714666" sldId="2146846412"/>
            <ac:picMk id="3074" creationId="{C7901959-AD3D-44D0-BDAC-8E491F573AD3}"/>
          </ac:picMkLst>
        </pc:picChg>
      </pc:sldChg>
      <pc:sldChg chg="add del">
        <pc:chgData name="Kyle Akepanidtaworn" userId="4250081e-2882-4185-9e9c-d3298cc00d78" providerId="ADAL" clId="{E3BEE011-BDE0-4924-857F-571F4CEA325A}" dt="2021-03-11T07:51:54.673" v="620" actId="22"/>
        <pc:sldMkLst>
          <pc:docMk/>
          <pc:sldMk cId="359836162" sldId="2146846413"/>
        </pc:sldMkLst>
      </pc:sldChg>
      <pc:sldChg chg="add del">
        <pc:chgData name="Kyle Akepanidtaworn" userId="4250081e-2882-4185-9e9c-d3298cc00d78" providerId="ADAL" clId="{E3BEE011-BDE0-4924-857F-571F4CEA325A}" dt="2021-03-17T03:13:03.338" v="1400" actId="47"/>
        <pc:sldMkLst>
          <pc:docMk/>
          <pc:sldMk cId="2721686462" sldId="2146846413"/>
        </pc:sldMkLst>
      </pc:sldChg>
      <pc:sldChg chg="addSp delSp modSp add del mod">
        <pc:chgData name="Kyle Akepanidtaworn" userId="4250081e-2882-4185-9e9c-d3298cc00d78" providerId="ADAL" clId="{E3BEE011-BDE0-4924-857F-571F4CEA325A}" dt="2021-03-17T03:14:20.456" v="1413" actId="47"/>
        <pc:sldMkLst>
          <pc:docMk/>
          <pc:sldMk cId="1068422083" sldId="2146846414"/>
        </pc:sldMkLst>
        <pc:spChg chg="add del">
          <ac:chgData name="Kyle Akepanidtaworn" userId="4250081e-2882-4185-9e9c-d3298cc00d78" providerId="ADAL" clId="{E3BEE011-BDE0-4924-857F-571F4CEA325A}" dt="2021-03-11T07:53:12.371" v="637" actId="22"/>
          <ac:spMkLst>
            <pc:docMk/>
            <pc:sldMk cId="1068422083" sldId="2146846414"/>
            <ac:spMk id="3" creationId="{909C88D4-9E18-4A95-8E17-19594D30ED39}"/>
          </ac:spMkLst>
        </pc:spChg>
        <pc:spChg chg="add mod">
          <ac:chgData name="Kyle Akepanidtaworn" userId="4250081e-2882-4185-9e9c-d3298cc00d78" providerId="ADAL" clId="{E3BEE011-BDE0-4924-857F-571F4CEA325A}" dt="2021-03-11T07:55:48.040" v="702" actId="1076"/>
          <ac:spMkLst>
            <pc:docMk/>
            <pc:sldMk cId="1068422083" sldId="2146846414"/>
            <ac:spMk id="7" creationId="{3D3E36D8-7415-44D2-9F3E-3E4082615633}"/>
          </ac:spMkLst>
        </pc:spChg>
        <pc:spChg chg="add mod">
          <ac:chgData name="Kyle Akepanidtaworn" userId="4250081e-2882-4185-9e9c-d3298cc00d78" providerId="ADAL" clId="{E3BEE011-BDE0-4924-857F-571F4CEA325A}" dt="2021-03-11T07:55:51.269" v="703" actId="14100"/>
          <ac:spMkLst>
            <pc:docMk/>
            <pc:sldMk cId="1068422083" sldId="2146846414"/>
            <ac:spMk id="18" creationId="{597C492B-B0C2-424C-88FD-7F2D7EB2C384}"/>
          </ac:spMkLst>
        </pc:spChg>
        <pc:spChg chg="mod">
          <ac:chgData name="Kyle Akepanidtaworn" userId="4250081e-2882-4185-9e9c-d3298cc00d78" providerId="ADAL" clId="{E3BEE011-BDE0-4924-857F-571F4CEA325A}" dt="2021-03-11T07:56:56.392" v="721" actId="14100"/>
          <ac:spMkLst>
            <pc:docMk/>
            <pc:sldMk cId="1068422083" sldId="2146846414"/>
            <ac:spMk id="342" creationId="{6C84C8E9-F02B-4662-B8A1-9B5149D32C1F}"/>
          </ac:spMkLst>
        </pc:spChg>
        <pc:spChg chg="mod">
          <ac:chgData name="Kyle Akepanidtaworn" userId="4250081e-2882-4185-9e9c-d3298cc00d78" providerId="ADAL" clId="{E3BEE011-BDE0-4924-857F-571F4CEA325A}" dt="2021-03-11T07:53:08.962" v="636" actId="1076"/>
          <ac:spMkLst>
            <pc:docMk/>
            <pc:sldMk cId="1068422083" sldId="2146846414"/>
            <ac:spMk id="345" creationId="{AA71F304-2FE3-4257-82D7-6CD0854697D8}"/>
          </ac:spMkLst>
        </pc:spChg>
        <pc:spChg chg="mod">
          <ac:chgData name="Kyle Akepanidtaworn" userId="4250081e-2882-4185-9e9c-d3298cc00d78" providerId="ADAL" clId="{E3BEE011-BDE0-4924-857F-571F4CEA325A}" dt="2021-03-11T07:55:48.040" v="702" actId="1076"/>
          <ac:spMkLst>
            <pc:docMk/>
            <pc:sldMk cId="1068422083" sldId="2146846414"/>
            <ac:spMk id="358" creationId="{9FA4CE44-18BC-49AB-AF76-7E72F4A7C9FD}"/>
          </ac:spMkLst>
        </pc:spChg>
        <pc:spChg chg="mod">
          <ac:chgData name="Kyle Akepanidtaworn" userId="4250081e-2882-4185-9e9c-d3298cc00d78" providerId="ADAL" clId="{E3BEE011-BDE0-4924-857F-571F4CEA325A}" dt="2021-03-11T07:55:48.040" v="702" actId="1076"/>
          <ac:spMkLst>
            <pc:docMk/>
            <pc:sldMk cId="1068422083" sldId="2146846414"/>
            <ac:spMk id="370" creationId="{A3BDBF95-9A73-4F40-AB13-0715C9DD974E}"/>
          </ac:spMkLst>
        </pc:spChg>
        <pc:spChg chg="mod">
          <ac:chgData name="Kyle Akepanidtaworn" userId="4250081e-2882-4185-9e9c-d3298cc00d78" providerId="ADAL" clId="{E3BEE011-BDE0-4924-857F-571F4CEA325A}" dt="2021-03-11T07:55:48.040" v="702" actId="1076"/>
          <ac:spMkLst>
            <pc:docMk/>
            <pc:sldMk cId="1068422083" sldId="2146846414"/>
            <ac:spMk id="371" creationId="{2EA07D12-9E35-4A3D-B1BD-94CFF2E7B0A5}"/>
          </ac:spMkLst>
        </pc:spChg>
        <pc:cxnChg chg="add del mod">
          <ac:chgData name="Kyle Akepanidtaworn" userId="4250081e-2882-4185-9e9c-d3298cc00d78" providerId="ADAL" clId="{E3BEE011-BDE0-4924-857F-571F4CEA325A}" dt="2021-03-11T07:53:45.167" v="670" actId="478"/>
          <ac:cxnSpMkLst>
            <pc:docMk/>
            <pc:sldMk cId="1068422083" sldId="2146846414"/>
            <ac:cxnSpMk id="14" creationId="{639545C1-C617-4B52-A6ED-4C265825E666}"/>
          </ac:cxnSpMkLst>
        </pc:cxnChg>
      </pc:sldChg>
      <pc:sldChg chg="addSp delSp modSp add del mod modClrScheme chgLayout">
        <pc:chgData name="Kyle Akepanidtaworn" userId="4250081e-2882-4185-9e9c-d3298cc00d78" providerId="ADAL" clId="{E3BEE011-BDE0-4924-857F-571F4CEA325A}" dt="2021-03-25T06:48:30.781" v="2327" actId="1076"/>
        <pc:sldMkLst>
          <pc:docMk/>
          <pc:sldMk cId="2355811347" sldId="2146846415"/>
        </pc:sldMkLst>
        <pc:spChg chg="mod ord">
          <ac:chgData name="Kyle Akepanidtaworn" userId="4250081e-2882-4185-9e9c-d3298cc00d78" providerId="ADAL" clId="{E3BEE011-BDE0-4924-857F-571F4CEA325A}" dt="2021-03-17T02:59:02.836" v="1030" actId="1076"/>
          <ac:spMkLst>
            <pc:docMk/>
            <pc:sldMk cId="2355811347" sldId="2146846415"/>
            <ac:spMk id="2" creationId="{97DBDC07-7F6D-4ADD-8C5A-0FC2D8B6FAE9}"/>
          </ac:spMkLst>
        </pc:spChg>
        <pc:spChg chg="del">
          <ac:chgData name="Kyle Akepanidtaworn" userId="4250081e-2882-4185-9e9c-d3298cc00d78" providerId="ADAL" clId="{E3BEE011-BDE0-4924-857F-571F4CEA325A}" dt="2021-03-11T07:56:01.131" v="705" actId="478"/>
          <ac:spMkLst>
            <pc:docMk/>
            <pc:sldMk cId="2355811347" sldId="2146846415"/>
            <ac:spMk id="5" creationId="{9953EFD1-92CB-441D-9EF6-EACA1890E1C6}"/>
          </ac:spMkLst>
        </pc:spChg>
        <pc:spChg chg="del">
          <ac:chgData name="Kyle Akepanidtaworn" userId="4250081e-2882-4185-9e9c-d3298cc00d78" providerId="ADAL" clId="{E3BEE011-BDE0-4924-857F-571F4CEA325A}" dt="2021-03-11T07:56:01.131" v="705" actId="478"/>
          <ac:spMkLst>
            <pc:docMk/>
            <pc:sldMk cId="2355811347" sldId="2146846415"/>
            <ac:spMk id="6" creationId="{33D51099-9116-4EB5-9FA8-1817C816CD13}"/>
          </ac:spMkLst>
        </pc:spChg>
        <pc:spChg chg="add del">
          <ac:chgData name="Kyle Akepanidtaworn" userId="4250081e-2882-4185-9e9c-d3298cc00d78" providerId="ADAL" clId="{E3BEE011-BDE0-4924-857F-571F4CEA325A}" dt="2021-03-17T02:58:54.765" v="1025" actId="22"/>
          <ac:spMkLst>
            <pc:docMk/>
            <pc:sldMk cId="2355811347" sldId="2146846415"/>
            <ac:spMk id="6" creationId="{E3FA4617-E00A-4AB3-AE1E-B8D9FD7A20B3}"/>
          </ac:spMkLst>
        </pc:spChg>
        <pc:spChg chg="del">
          <ac:chgData name="Kyle Akepanidtaworn" userId="4250081e-2882-4185-9e9c-d3298cc00d78" providerId="ADAL" clId="{E3BEE011-BDE0-4924-857F-571F4CEA325A}" dt="2021-03-11T07:56:01.131" v="705" actId="478"/>
          <ac:spMkLst>
            <pc:docMk/>
            <pc:sldMk cId="2355811347" sldId="2146846415"/>
            <ac:spMk id="7" creationId="{3D3E36D8-7415-44D2-9F3E-3E4082615633}"/>
          </ac:spMkLst>
        </pc:spChg>
        <pc:spChg chg="del">
          <ac:chgData name="Kyle Akepanidtaworn" userId="4250081e-2882-4185-9e9c-d3298cc00d78" providerId="ADAL" clId="{E3BEE011-BDE0-4924-857F-571F4CEA325A}" dt="2021-03-11T07:56:01.131" v="705" actId="478"/>
          <ac:spMkLst>
            <pc:docMk/>
            <pc:sldMk cId="2355811347" sldId="2146846415"/>
            <ac:spMk id="8" creationId="{04D27463-C320-4E31-9EB9-D90B6C38FDC4}"/>
          </ac:spMkLst>
        </pc:spChg>
        <pc:spChg chg="del">
          <ac:chgData name="Kyle Akepanidtaworn" userId="4250081e-2882-4185-9e9c-d3298cc00d78" providerId="ADAL" clId="{E3BEE011-BDE0-4924-857F-571F4CEA325A}" dt="2021-03-11T07:56:01.131" v="705" actId="478"/>
          <ac:spMkLst>
            <pc:docMk/>
            <pc:sldMk cId="2355811347" sldId="2146846415"/>
            <ac:spMk id="10" creationId="{E98B72D9-22D7-4F00-BD78-A01405E57837}"/>
          </ac:spMkLst>
        </pc:spChg>
        <pc:spChg chg="del">
          <ac:chgData name="Kyle Akepanidtaworn" userId="4250081e-2882-4185-9e9c-d3298cc00d78" providerId="ADAL" clId="{E3BEE011-BDE0-4924-857F-571F4CEA325A}" dt="2021-03-11T07:56:01.131" v="705" actId="478"/>
          <ac:spMkLst>
            <pc:docMk/>
            <pc:sldMk cId="2355811347" sldId="2146846415"/>
            <ac:spMk id="11" creationId="{2965123B-4FE0-4C53-BD27-465C62E549A4}"/>
          </ac:spMkLst>
        </pc:spChg>
        <pc:spChg chg="del">
          <ac:chgData name="Kyle Akepanidtaworn" userId="4250081e-2882-4185-9e9c-d3298cc00d78" providerId="ADAL" clId="{E3BEE011-BDE0-4924-857F-571F4CEA325A}" dt="2021-03-11T07:56:01.131" v="705" actId="478"/>
          <ac:spMkLst>
            <pc:docMk/>
            <pc:sldMk cId="2355811347" sldId="2146846415"/>
            <ac:spMk id="13" creationId="{53FED78B-C1CD-4041-ABF5-4397078BD363}"/>
          </ac:spMkLst>
        </pc:spChg>
        <pc:spChg chg="del">
          <ac:chgData name="Kyle Akepanidtaworn" userId="4250081e-2882-4185-9e9c-d3298cc00d78" providerId="ADAL" clId="{E3BEE011-BDE0-4924-857F-571F4CEA325A}" dt="2021-03-11T07:56:01.131" v="705" actId="478"/>
          <ac:spMkLst>
            <pc:docMk/>
            <pc:sldMk cId="2355811347" sldId="2146846415"/>
            <ac:spMk id="18" creationId="{597C492B-B0C2-424C-88FD-7F2D7EB2C384}"/>
          </ac:spMkLst>
        </pc:spChg>
        <pc:spChg chg="add del mod">
          <ac:chgData name="Kyle Akepanidtaworn" userId="4250081e-2882-4185-9e9c-d3298cc00d78" providerId="ADAL" clId="{E3BEE011-BDE0-4924-857F-571F4CEA325A}" dt="2021-03-25T06:48:30.781" v="2327" actId="1076"/>
          <ac:spMkLst>
            <pc:docMk/>
            <pc:sldMk cId="2355811347" sldId="2146846415"/>
            <ac:spMk id="57" creationId="{359F8217-4EBF-4546-8BA7-65B243E3E68B}"/>
          </ac:spMkLst>
        </pc:spChg>
        <pc:spChg chg="del">
          <ac:chgData name="Kyle Akepanidtaworn" userId="4250081e-2882-4185-9e9c-d3298cc00d78" providerId="ADAL" clId="{E3BEE011-BDE0-4924-857F-571F4CEA325A}" dt="2021-03-11T07:56:01.131" v="705" actId="478"/>
          <ac:spMkLst>
            <pc:docMk/>
            <pc:sldMk cId="2355811347" sldId="2146846415"/>
            <ac:spMk id="342" creationId="{6C84C8E9-F02B-4662-B8A1-9B5149D32C1F}"/>
          </ac:spMkLst>
        </pc:spChg>
        <pc:spChg chg="del">
          <ac:chgData name="Kyle Akepanidtaworn" userId="4250081e-2882-4185-9e9c-d3298cc00d78" providerId="ADAL" clId="{E3BEE011-BDE0-4924-857F-571F4CEA325A}" dt="2021-03-11T07:56:01.131" v="705" actId="478"/>
          <ac:spMkLst>
            <pc:docMk/>
            <pc:sldMk cId="2355811347" sldId="2146846415"/>
            <ac:spMk id="344" creationId="{3F26284E-287C-45CE-BE3B-9A9150294051}"/>
          </ac:spMkLst>
        </pc:spChg>
        <pc:spChg chg="del">
          <ac:chgData name="Kyle Akepanidtaworn" userId="4250081e-2882-4185-9e9c-d3298cc00d78" providerId="ADAL" clId="{E3BEE011-BDE0-4924-857F-571F4CEA325A}" dt="2021-03-11T07:56:01.131" v="705" actId="478"/>
          <ac:spMkLst>
            <pc:docMk/>
            <pc:sldMk cId="2355811347" sldId="2146846415"/>
            <ac:spMk id="345" creationId="{AA71F304-2FE3-4257-82D7-6CD0854697D8}"/>
          </ac:spMkLst>
        </pc:spChg>
        <pc:spChg chg="del">
          <ac:chgData name="Kyle Akepanidtaworn" userId="4250081e-2882-4185-9e9c-d3298cc00d78" providerId="ADAL" clId="{E3BEE011-BDE0-4924-857F-571F4CEA325A}" dt="2021-03-11T07:56:01.131" v="705" actId="478"/>
          <ac:spMkLst>
            <pc:docMk/>
            <pc:sldMk cId="2355811347" sldId="2146846415"/>
            <ac:spMk id="346" creationId="{9E17F711-7062-4294-9FE1-915D558C5AF2}"/>
          </ac:spMkLst>
        </pc:spChg>
        <pc:spChg chg="del">
          <ac:chgData name="Kyle Akepanidtaworn" userId="4250081e-2882-4185-9e9c-d3298cc00d78" providerId="ADAL" clId="{E3BEE011-BDE0-4924-857F-571F4CEA325A}" dt="2021-03-11T07:56:01.131" v="705" actId="478"/>
          <ac:spMkLst>
            <pc:docMk/>
            <pc:sldMk cId="2355811347" sldId="2146846415"/>
            <ac:spMk id="347" creationId="{F5AA7A59-428F-44A9-836E-9C3D7B6B3F81}"/>
          </ac:spMkLst>
        </pc:spChg>
        <pc:spChg chg="del">
          <ac:chgData name="Kyle Akepanidtaworn" userId="4250081e-2882-4185-9e9c-d3298cc00d78" providerId="ADAL" clId="{E3BEE011-BDE0-4924-857F-571F4CEA325A}" dt="2021-03-11T07:56:01.131" v="705" actId="478"/>
          <ac:spMkLst>
            <pc:docMk/>
            <pc:sldMk cId="2355811347" sldId="2146846415"/>
            <ac:spMk id="348" creationId="{5C4546D2-C4DC-48A5-A403-E8B3429D4841}"/>
          </ac:spMkLst>
        </pc:spChg>
        <pc:spChg chg="del">
          <ac:chgData name="Kyle Akepanidtaworn" userId="4250081e-2882-4185-9e9c-d3298cc00d78" providerId="ADAL" clId="{E3BEE011-BDE0-4924-857F-571F4CEA325A}" dt="2021-03-11T07:56:01.131" v="705" actId="478"/>
          <ac:spMkLst>
            <pc:docMk/>
            <pc:sldMk cId="2355811347" sldId="2146846415"/>
            <ac:spMk id="349" creationId="{2EAA7EEA-DE89-47F6-89AC-F638F2EF3095}"/>
          </ac:spMkLst>
        </pc:spChg>
        <pc:spChg chg="del">
          <ac:chgData name="Kyle Akepanidtaworn" userId="4250081e-2882-4185-9e9c-d3298cc00d78" providerId="ADAL" clId="{E3BEE011-BDE0-4924-857F-571F4CEA325A}" dt="2021-03-11T07:56:01.131" v="705" actId="478"/>
          <ac:spMkLst>
            <pc:docMk/>
            <pc:sldMk cId="2355811347" sldId="2146846415"/>
            <ac:spMk id="350" creationId="{BFF68636-5473-4CBD-BC9F-29D77860453F}"/>
          </ac:spMkLst>
        </pc:spChg>
        <pc:spChg chg="del">
          <ac:chgData name="Kyle Akepanidtaworn" userId="4250081e-2882-4185-9e9c-d3298cc00d78" providerId="ADAL" clId="{E3BEE011-BDE0-4924-857F-571F4CEA325A}" dt="2021-03-11T07:56:01.131" v="705" actId="478"/>
          <ac:spMkLst>
            <pc:docMk/>
            <pc:sldMk cId="2355811347" sldId="2146846415"/>
            <ac:spMk id="351" creationId="{01CB3020-2732-42A8-8316-D2B8EF6BA964}"/>
          </ac:spMkLst>
        </pc:spChg>
        <pc:spChg chg="del">
          <ac:chgData name="Kyle Akepanidtaworn" userId="4250081e-2882-4185-9e9c-d3298cc00d78" providerId="ADAL" clId="{E3BEE011-BDE0-4924-857F-571F4CEA325A}" dt="2021-03-11T07:56:01.131" v="705" actId="478"/>
          <ac:spMkLst>
            <pc:docMk/>
            <pc:sldMk cId="2355811347" sldId="2146846415"/>
            <ac:spMk id="352" creationId="{98D5CDF0-4EF0-42BD-A812-FC6326C8856E}"/>
          </ac:spMkLst>
        </pc:spChg>
        <pc:spChg chg="del">
          <ac:chgData name="Kyle Akepanidtaworn" userId="4250081e-2882-4185-9e9c-d3298cc00d78" providerId="ADAL" clId="{E3BEE011-BDE0-4924-857F-571F4CEA325A}" dt="2021-03-11T07:56:01.131" v="705" actId="478"/>
          <ac:spMkLst>
            <pc:docMk/>
            <pc:sldMk cId="2355811347" sldId="2146846415"/>
            <ac:spMk id="353" creationId="{D6C6E50E-E1A5-4131-989A-2BEA5C62D2E7}"/>
          </ac:spMkLst>
        </pc:spChg>
        <pc:spChg chg="del">
          <ac:chgData name="Kyle Akepanidtaworn" userId="4250081e-2882-4185-9e9c-d3298cc00d78" providerId="ADAL" clId="{E3BEE011-BDE0-4924-857F-571F4CEA325A}" dt="2021-03-11T07:56:01.131" v="705" actId="478"/>
          <ac:spMkLst>
            <pc:docMk/>
            <pc:sldMk cId="2355811347" sldId="2146846415"/>
            <ac:spMk id="354" creationId="{D947E78A-4EA2-4BEE-846F-D3AFCAB285D8}"/>
          </ac:spMkLst>
        </pc:spChg>
        <pc:spChg chg="del">
          <ac:chgData name="Kyle Akepanidtaworn" userId="4250081e-2882-4185-9e9c-d3298cc00d78" providerId="ADAL" clId="{E3BEE011-BDE0-4924-857F-571F4CEA325A}" dt="2021-03-11T07:56:01.131" v="705" actId="478"/>
          <ac:spMkLst>
            <pc:docMk/>
            <pc:sldMk cId="2355811347" sldId="2146846415"/>
            <ac:spMk id="357" creationId="{201B94F0-6F07-4359-ADAD-69805746FB67}"/>
          </ac:spMkLst>
        </pc:spChg>
        <pc:spChg chg="del">
          <ac:chgData name="Kyle Akepanidtaworn" userId="4250081e-2882-4185-9e9c-d3298cc00d78" providerId="ADAL" clId="{E3BEE011-BDE0-4924-857F-571F4CEA325A}" dt="2021-03-11T07:56:01.131" v="705" actId="478"/>
          <ac:spMkLst>
            <pc:docMk/>
            <pc:sldMk cId="2355811347" sldId="2146846415"/>
            <ac:spMk id="358" creationId="{9FA4CE44-18BC-49AB-AF76-7E72F4A7C9FD}"/>
          </ac:spMkLst>
        </pc:spChg>
        <pc:spChg chg="del">
          <ac:chgData name="Kyle Akepanidtaworn" userId="4250081e-2882-4185-9e9c-d3298cc00d78" providerId="ADAL" clId="{E3BEE011-BDE0-4924-857F-571F4CEA325A}" dt="2021-03-11T07:56:01.131" v="705" actId="478"/>
          <ac:spMkLst>
            <pc:docMk/>
            <pc:sldMk cId="2355811347" sldId="2146846415"/>
            <ac:spMk id="359" creationId="{36F97A8A-23D5-4138-A19D-85D92522A932}"/>
          </ac:spMkLst>
        </pc:spChg>
        <pc:spChg chg="del">
          <ac:chgData name="Kyle Akepanidtaworn" userId="4250081e-2882-4185-9e9c-d3298cc00d78" providerId="ADAL" clId="{E3BEE011-BDE0-4924-857F-571F4CEA325A}" dt="2021-03-11T07:56:01.131" v="705" actId="478"/>
          <ac:spMkLst>
            <pc:docMk/>
            <pc:sldMk cId="2355811347" sldId="2146846415"/>
            <ac:spMk id="361" creationId="{D51780CF-895F-490B-86CE-713871096CB7}"/>
          </ac:spMkLst>
        </pc:spChg>
        <pc:spChg chg="del">
          <ac:chgData name="Kyle Akepanidtaworn" userId="4250081e-2882-4185-9e9c-d3298cc00d78" providerId="ADAL" clId="{E3BEE011-BDE0-4924-857F-571F4CEA325A}" dt="2021-03-11T07:56:01.131" v="705" actId="478"/>
          <ac:spMkLst>
            <pc:docMk/>
            <pc:sldMk cId="2355811347" sldId="2146846415"/>
            <ac:spMk id="368" creationId="{202D8931-5F0E-46B7-A7EE-4BAA1614FDE1}"/>
          </ac:spMkLst>
        </pc:spChg>
        <pc:spChg chg="del">
          <ac:chgData name="Kyle Akepanidtaworn" userId="4250081e-2882-4185-9e9c-d3298cc00d78" providerId="ADAL" clId="{E3BEE011-BDE0-4924-857F-571F4CEA325A}" dt="2021-03-11T07:56:01.131" v="705" actId="478"/>
          <ac:spMkLst>
            <pc:docMk/>
            <pc:sldMk cId="2355811347" sldId="2146846415"/>
            <ac:spMk id="369" creationId="{79B2AF19-0E9A-4DB2-906C-2AEDBD56BA17}"/>
          </ac:spMkLst>
        </pc:spChg>
        <pc:spChg chg="del">
          <ac:chgData name="Kyle Akepanidtaworn" userId="4250081e-2882-4185-9e9c-d3298cc00d78" providerId="ADAL" clId="{E3BEE011-BDE0-4924-857F-571F4CEA325A}" dt="2021-03-11T07:56:01.131" v="705" actId="478"/>
          <ac:spMkLst>
            <pc:docMk/>
            <pc:sldMk cId="2355811347" sldId="2146846415"/>
            <ac:spMk id="370" creationId="{A3BDBF95-9A73-4F40-AB13-0715C9DD974E}"/>
          </ac:spMkLst>
        </pc:spChg>
        <pc:spChg chg="del">
          <ac:chgData name="Kyle Akepanidtaworn" userId="4250081e-2882-4185-9e9c-d3298cc00d78" providerId="ADAL" clId="{E3BEE011-BDE0-4924-857F-571F4CEA325A}" dt="2021-03-11T07:56:01.131" v="705" actId="478"/>
          <ac:spMkLst>
            <pc:docMk/>
            <pc:sldMk cId="2355811347" sldId="2146846415"/>
            <ac:spMk id="371" creationId="{2EA07D12-9E35-4A3D-B1BD-94CFF2E7B0A5}"/>
          </ac:spMkLst>
        </pc:spChg>
        <pc:spChg chg="del">
          <ac:chgData name="Kyle Akepanidtaworn" userId="4250081e-2882-4185-9e9c-d3298cc00d78" providerId="ADAL" clId="{E3BEE011-BDE0-4924-857F-571F4CEA325A}" dt="2021-03-11T07:56:01.131" v="705" actId="478"/>
          <ac:spMkLst>
            <pc:docMk/>
            <pc:sldMk cId="2355811347" sldId="2146846415"/>
            <ac:spMk id="374" creationId="{6D152FDC-427F-4D16-87AF-CEDE52B62E65}"/>
          </ac:spMkLst>
        </pc:spChg>
        <pc:spChg chg="del">
          <ac:chgData name="Kyle Akepanidtaworn" userId="4250081e-2882-4185-9e9c-d3298cc00d78" providerId="ADAL" clId="{E3BEE011-BDE0-4924-857F-571F4CEA325A}" dt="2021-03-11T07:56:01.131" v="705" actId="478"/>
          <ac:spMkLst>
            <pc:docMk/>
            <pc:sldMk cId="2355811347" sldId="2146846415"/>
            <ac:spMk id="375" creationId="{C5C7CFD7-0180-449B-BF0F-F5AE7BC72423}"/>
          </ac:spMkLst>
        </pc:spChg>
        <pc:spChg chg="del">
          <ac:chgData name="Kyle Akepanidtaworn" userId="4250081e-2882-4185-9e9c-d3298cc00d78" providerId="ADAL" clId="{E3BEE011-BDE0-4924-857F-571F4CEA325A}" dt="2021-03-11T07:56:01.131" v="705" actId="478"/>
          <ac:spMkLst>
            <pc:docMk/>
            <pc:sldMk cId="2355811347" sldId="2146846415"/>
            <ac:spMk id="381" creationId="{C652B4C5-FE5D-43A1-8763-5E3BF18D019A}"/>
          </ac:spMkLst>
        </pc:spChg>
        <pc:spChg chg="del">
          <ac:chgData name="Kyle Akepanidtaworn" userId="4250081e-2882-4185-9e9c-d3298cc00d78" providerId="ADAL" clId="{E3BEE011-BDE0-4924-857F-571F4CEA325A}" dt="2021-03-11T07:56:01.131" v="705" actId="478"/>
          <ac:spMkLst>
            <pc:docMk/>
            <pc:sldMk cId="2355811347" sldId="2146846415"/>
            <ac:spMk id="392" creationId="{86F8F462-0607-4CCD-80FB-152A183E5665}"/>
          </ac:spMkLst>
        </pc:spChg>
        <pc:spChg chg="del">
          <ac:chgData name="Kyle Akepanidtaworn" userId="4250081e-2882-4185-9e9c-d3298cc00d78" providerId="ADAL" clId="{E3BEE011-BDE0-4924-857F-571F4CEA325A}" dt="2021-03-11T07:56:01.131" v="705" actId="478"/>
          <ac:spMkLst>
            <pc:docMk/>
            <pc:sldMk cId="2355811347" sldId="2146846415"/>
            <ac:spMk id="410" creationId="{231F8992-9916-42DF-ABED-F35299EE2435}"/>
          </ac:spMkLst>
        </pc:spChg>
        <pc:grpChg chg="del">
          <ac:chgData name="Kyle Akepanidtaworn" userId="4250081e-2882-4185-9e9c-d3298cc00d78" providerId="ADAL" clId="{E3BEE011-BDE0-4924-857F-571F4CEA325A}" dt="2021-03-11T07:56:01.131" v="705" actId="478"/>
          <ac:grpSpMkLst>
            <pc:docMk/>
            <pc:sldMk cId="2355811347" sldId="2146846415"/>
            <ac:grpSpMk id="82" creationId="{CEECF9FC-00E3-4049-B7FC-90A0AB02AA95}"/>
          </ac:grpSpMkLst>
        </pc:grpChg>
        <pc:grpChg chg="del">
          <ac:chgData name="Kyle Akepanidtaworn" userId="4250081e-2882-4185-9e9c-d3298cc00d78" providerId="ADAL" clId="{E3BEE011-BDE0-4924-857F-571F4CEA325A}" dt="2021-03-11T07:56:01.131" v="705" actId="478"/>
          <ac:grpSpMkLst>
            <pc:docMk/>
            <pc:sldMk cId="2355811347" sldId="2146846415"/>
            <ac:grpSpMk id="362" creationId="{28736625-BBE1-45B5-9819-03634FD4D4ED}"/>
          </ac:grpSpMkLst>
        </pc:grpChg>
        <pc:grpChg chg="del">
          <ac:chgData name="Kyle Akepanidtaworn" userId="4250081e-2882-4185-9e9c-d3298cc00d78" providerId="ADAL" clId="{E3BEE011-BDE0-4924-857F-571F4CEA325A}" dt="2021-03-11T07:56:01.131" v="705" actId="478"/>
          <ac:grpSpMkLst>
            <pc:docMk/>
            <pc:sldMk cId="2355811347" sldId="2146846415"/>
            <ac:grpSpMk id="365" creationId="{BA8EFDAD-17AD-4C3B-84A1-056D1FA1E4E7}"/>
          </ac:grpSpMkLst>
        </pc:grpChg>
        <pc:picChg chg="del">
          <ac:chgData name="Kyle Akepanidtaworn" userId="4250081e-2882-4185-9e9c-d3298cc00d78" providerId="ADAL" clId="{E3BEE011-BDE0-4924-857F-571F4CEA325A}" dt="2021-03-11T07:56:01.131" v="705" actId="478"/>
          <ac:picMkLst>
            <pc:docMk/>
            <pc:sldMk cId="2355811347" sldId="2146846415"/>
            <ac:picMk id="4" creationId="{C4EE4816-8638-4A6D-B7E8-E6E81861582E}"/>
          </ac:picMkLst>
        </pc:picChg>
        <pc:picChg chg="del">
          <ac:chgData name="Kyle Akepanidtaworn" userId="4250081e-2882-4185-9e9c-d3298cc00d78" providerId="ADAL" clId="{E3BEE011-BDE0-4924-857F-571F4CEA325A}" dt="2021-03-11T07:56:01.131" v="705" actId="478"/>
          <ac:picMkLst>
            <pc:docMk/>
            <pc:sldMk cId="2355811347" sldId="2146846415"/>
            <ac:picMk id="9" creationId="{D091F185-5DB8-4416-AFC4-742BE957717C}"/>
          </ac:picMkLst>
        </pc:picChg>
        <pc:picChg chg="add mod">
          <ac:chgData name="Kyle Akepanidtaworn" userId="4250081e-2882-4185-9e9c-d3298cc00d78" providerId="ADAL" clId="{E3BEE011-BDE0-4924-857F-571F4CEA325A}" dt="2021-03-17T02:59:58.866" v="1056" actId="1076"/>
          <ac:picMkLst>
            <pc:docMk/>
            <pc:sldMk cId="2355811347" sldId="2146846415"/>
            <ac:picMk id="14" creationId="{D1EE4C6A-13AF-48B5-8867-8A293DF64F12}"/>
          </ac:picMkLst>
        </pc:picChg>
        <pc:picChg chg="del">
          <ac:chgData name="Kyle Akepanidtaworn" userId="4250081e-2882-4185-9e9c-d3298cc00d78" providerId="ADAL" clId="{E3BEE011-BDE0-4924-857F-571F4CEA325A}" dt="2021-03-11T07:56:01.131" v="705" actId="478"/>
          <ac:picMkLst>
            <pc:docMk/>
            <pc:sldMk cId="2355811347" sldId="2146846415"/>
            <ac:picMk id="372" creationId="{51432B68-1C10-477F-87D6-2BEF8E91B17A}"/>
          </ac:picMkLst>
        </pc:picChg>
        <pc:picChg chg="del">
          <ac:chgData name="Kyle Akepanidtaworn" userId="4250081e-2882-4185-9e9c-d3298cc00d78" providerId="ADAL" clId="{E3BEE011-BDE0-4924-857F-571F4CEA325A}" dt="2021-03-11T07:56:01.131" v="705" actId="478"/>
          <ac:picMkLst>
            <pc:docMk/>
            <pc:sldMk cId="2355811347" sldId="2146846415"/>
            <ac:picMk id="373" creationId="{4038E7B3-66D7-43BA-A62A-1EED4262A2DD}"/>
          </ac:picMkLst>
        </pc:picChg>
        <pc:cxnChg chg="del">
          <ac:chgData name="Kyle Akepanidtaworn" userId="4250081e-2882-4185-9e9c-d3298cc00d78" providerId="ADAL" clId="{E3BEE011-BDE0-4924-857F-571F4CEA325A}" dt="2021-03-11T07:56:01.131" v="705" actId="478"/>
          <ac:cxnSpMkLst>
            <pc:docMk/>
            <pc:sldMk cId="2355811347" sldId="2146846415"/>
            <ac:cxnSpMk id="12" creationId="{0CCF4D4B-E1CB-4BC4-88AD-61BB825AB324}"/>
          </ac:cxnSpMkLst>
        </pc:cxnChg>
        <pc:cxnChg chg="del">
          <ac:chgData name="Kyle Akepanidtaworn" userId="4250081e-2882-4185-9e9c-d3298cc00d78" providerId="ADAL" clId="{E3BEE011-BDE0-4924-857F-571F4CEA325A}" dt="2021-03-11T07:56:01.131" v="705" actId="478"/>
          <ac:cxnSpMkLst>
            <pc:docMk/>
            <pc:sldMk cId="2355811347" sldId="2146846415"/>
            <ac:cxnSpMk id="355" creationId="{6B5726F5-DF5B-4A1C-995F-7D4CA8FB7A1B}"/>
          </ac:cxnSpMkLst>
        </pc:cxnChg>
        <pc:cxnChg chg="del">
          <ac:chgData name="Kyle Akepanidtaworn" userId="4250081e-2882-4185-9e9c-d3298cc00d78" providerId="ADAL" clId="{E3BEE011-BDE0-4924-857F-571F4CEA325A}" dt="2021-03-11T07:56:01.131" v="705" actId="478"/>
          <ac:cxnSpMkLst>
            <pc:docMk/>
            <pc:sldMk cId="2355811347" sldId="2146846415"/>
            <ac:cxnSpMk id="393" creationId="{FF34FBF3-CC48-4155-A86A-49F5BF87F748}"/>
          </ac:cxnSpMkLst>
        </pc:cxnChg>
      </pc:sldChg>
      <pc:sldChg chg="addSp">
        <pc:chgData name="Kyle Akepanidtaworn" userId="4250081e-2882-4185-9e9c-d3298cc00d78" providerId="ADAL" clId="{E3BEE011-BDE0-4924-857F-571F4CEA325A}" dt="2021-03-11T07:56:10.889" v="708"/>
        <pc:sldMkLst>
          <pc:docMk/>
          <pc:sldMk cId="3794923872" sldId="2146846415"/>
        </pc:sldMkLst>
        <pc:spChg chg="add">
          <ac:chgData name="Kyle Akepanidtaworn" userId="4250081e-2882-4185-9e9c-d3298cc00d78" providerId="ADAL" clId="{E3BEE011-BDE0-4924-857F-571F4CEA325A}" dt="2021-03-11T07:56:10.889" v="708"/>
          <ac:spMkLst>
            <pc:docMk/>
            <pc:sldMk cId="3794923872" sldId="2146846415"/>
            <ac:spMk id="3" creationId="{FA24566B-F5A3-45F9-A150-0372441C9483}"/>
          </ac:spMkLst>
        </pc:spChg>
      </pc:sldChg>
      <pc:sldChg chg="add del">
        <pc:chgData name="Kyle Akepanidtaworn" userId="4250081e-2882-4185-9e9c-d3298cc00d78" providerId="ADAL" clId="{E3BEE011-BDE0-4924-857F-571F4CEA325A}" dt="2021-03-11T07:56:07.754" v="707" actId="22"/>
        <pc:sldMkLst>
          <pc:docMk/>
          <pc:sldMk cId="649674679" sldId="2146846416"/>
        </pc:sldMkLst>
      </pc:sldChg>
      <pc:sldChg chg="addSp delSp modSp new mod">
        <pc:chgData name="Kyle Akepanidtaworn" userId="4250081e-2882-4185-9e9c-d3298cc00d78" providerId="ADAL" clId="{E3BEE011-BDE0-4924-857F-571F4CEA325A}" dt="2021-03-22T06:06:54.470" v="2088" actId="20577"/>
        <pc:sldMkLst>
          <pc:docMk/>
          <pc:sldMk cId="2603264723" sldId="2146846416"/>
        </pc:sldMkLst>
        <pc:spChg chg="mod">
          <ac:chgData name="Kyle Akepanidtaworn" userId="4250081e-2882-4185-9e9c-d3298cc00d78" providerId="ADAL" clId="{E3BEE011-BDE0-4924-857F-571F4CEA325A}" dt="2021-03-17T03:17:02.197" v="1430" actId="108"/>
          <ac:spMkLst>
            <pc:docMk/>
            <pc:sldMk cId="2603264723" sldId="2146846416"/>
            <ac:spMk id="2" creationId="{F0135E85-0426-41E5-9B1D-BFD99AF4C029}"/>
          </ac:spMkLst>
        </pc:spChg>
        <pc:spChg chg="add del">
          <ac:chgData name="Kyle Akepanidtaworn" userId="4250081e-2882-4185-9e9c-d3298cc00d78" providerId="ADAL" clId="{E3BEE011-BDE0-4924-857F-571F4CEA325A}" dt="2021-03-15T08:33:47.066" v="854" actId="22"/>
          <ac:spMkLst>
            <pc:docMk/>
            <pc:sldMk cId="2603264723" sldId="2146846416"/>
            <ac:spMk id="4" creationId="{01EF9B41-E7B1-4D95-AE2D-54C1A2BA25DD}"/>
          </ac:spMkLst>
        </pc:spChg>
        <pc:spChg chg="add mod">
          <ac:chgData name="Kyle Akepanidtaworn" userId="4250081e-2882-4185-9e9c-d3298cc00d78" providerId="ADAL" clId="{E3BEE011-BDE0-4924-857F-571F4CEA325A}" dt="2021-03-22T06:06:54.470" v="2088" actId="20577"/>
          <ac:spMkLst>
            <pc:docMk/>
            <pc:sldMk cId="2603264723" sldId="2146846416"/>
            <ac:spMk id="6" creationId="{ACEF8A86-BBF8-471B-AD33-0EDC5D770D00}"/>
          </ac:spMkLst>
        </pc:spChg>
      </pc:sldChg>
      <pc:sldChg chg="addSp modSp new mod">
        <pc:chgData name="Kyle Akepanidtaworn" userId="4250081e-2882-4185-9e9c-d3298cc00d78" providerId="ADAL" clId="{E3BEE011-BDE0-4924-857F-571F4CEA325A}" dt="2021-03-25T06:43:51.615" v="2323" actId="20577"/>
        <pc:sldMkLst>
          <pc:docMk/>
          <pc:sldMk cId="1317679432" sldId="2146846417"/>
        </pc:sldMkLst>
        <pc:spChg chg="mod">
          <ac:chgData name="Kyle Akepanidtaworn" userId="4250081e-2882-4185-9e9c-d3298cc00d78" providerId="ADAL" clId="{E3BEE011-BDE0-4924-857F-571F4CEA325A}" dt="2021-03-17T03:17:04.725" v="1431" actId="108"/>
          <ac:spMkLst>
            <pc:docMk/>
            <pc:sldMk cId="1317679432" sldId="2146846417"/>
            <ac:spMk id="2" creationId="{A5D2A07D-F7FA-4CD3-81B6-51E23B13B73F}"/>
          </ac:spMkLst>
        </pc:spChg>
        <pc:spChg chg="add mod">
          <ac:chgData name="Kyle Akepanidtaworn" userId="4250081e-2882-4185-9e9c-d3298cc00d78" providerId="ADAL" clId="{E3BEE011-BDE0-4924-857F-571F4CEA325A}" dt="2021-03-25T06:43:51.615" v="2323" actId="20577"/>
          <ac:spMkLst>
            <pc:docMk/>
            <pc:sldMk cId="1317679432" sldId="2146846417"/>
            <ac:spMk id="4" creationId="{76A36981-B928-4C0C-85A0-37683573C65A}"/>
          </ac:spMkLst>
        </pc:spChg>
      </pc:sldChg>
      <pc:sldChg chg="addSp modSp add mod">
        <pc:chgData name="Kyle Akepanidtaworn" userId="4250081e-2882-4185-9e9c-d3298cc00d78" providerId="ADAL" clId="{E3BEE011-BDE0-4924-857F-571F4CEA325A}" dt="2021-03-25T06:45:14.324" v="2325" actId="20577"/>
        <pc:sldMkLst>
          <pc:docMk/>
          <pc:sldMk cId="1381610846" sldId="2146846418"/>
        </pc:sldMkLst>
        <pc:spChg chg="mod">
          <ac:chgData name="Kyle Akepanidtaworn" userId="4250081e-2882-4185-9e9c-d3298cc00d78" providerId="ADAL" clId="{E3BEE011-BDE0-4924-857F-571F4CEA325A}" dt="2021-03-17T03:17:24.624" v="1435" actId="108"/>
          <ac:spMkLst>
            <pc:docMk/>
            <pc:sldMk cId="1381610846" sldId="2146846418"/>
            <ac:spMk id="2" creationId="{F0135E85-0426-41E5-9B1D-BFD99AF4C029}"/>
          </ac:spMkLst>
        </pc:spChg>
        <pc:spChg chg="add mod">
          <ac:chgData name="Kyle Akepanidtaworn" userId="4250081e-2882-4185-9e9c-d3298cc00d78" providerId="ADAL" clId="{E3BEE011-BDE0-4924-857F-571F4CEA325A}" dt="2021-03-25T06:45:14.324" v="2325" actId="20577"/>
          <ac:spMkLst>
            <pc:docMk/>
            <pc:sldMk cId="1381610846" sldId="2146846418"/>
            <ac:spMk id="4" creationId="{F1A00794-9E11-49A9-97EC-61DBBE0EC2C0}"/>
          </ac:spMkLst>
        </pc:spChg>
      </pc:sldChg>
      <pc:sldChg chg="addSp delSp modSp add mod">
        <pc:chgData name="Kyle Akepanidtaworn" userId="4250081e-2882-4185-9e9c-d3298cc00d78" providerId="ADAL" clId="{E3BEE011-BDE0-4924-857F-571F4CEA325A}" dt="2021-03-17T03:31:26.886" v="1879" actId="113"/>
        <pc:sldMkLst>
          <pc:docMk/>
          <pc:sldMk cId="2495288789" sldId="2146846419"/>
        </pc:sldMkLst>
        <pc:spChg chg="mod">
          <ac:chgData name="Kyle Akepanidtaworn" userId="4250081e-2882-4185-9e9c-d3298cc00d78" providerId="ADAL" clId="{E3BEE011-BDE0-4924-857F-571F4CEA325A}" dt="2021-03-17T03:17:27.003" v="1436" actId="108"/>
          <ac:spMkLst>
            <pc:docMk/>
            <pc:sldMk cId="2495288789" sldId="2146846419"/>
            <ac:spMk id="2" creationId="{A5D2A07D-F7FA-4CD3-81B6-51E23B13B73F}"/>
          </ac:spMkLst>
        </pc:spChg>
        <pc:spChg chg="add del">
          <ac:chgData name="Kyle Akepanidtaworn" userId="4250081e-2882-4185-9e9c-d3298cc00d78" providerId="ADAL" clId="{E3BEE011-BDE0-4924-857F-571F4CEA325A}" dt="2021-03-15T08:34:46.225" v="909" actId="22"/>
          <ac:spMkLst>
            <pc:docMk/>
            <pc:sldMk cId="2495288789" sldId="2146846419"/>
            <ac:spMk id="4" creationId="{34D3A98C-79E0-4ECA-82B3-3B701B35BE8F}"/>
          </ac:spMkLst>
        </pc:spChg>
        <pc:spChg chg="add mod">
          <ac:chgData name="Kyle Akepanidtaworn" userId="4250081e-2882-4185-9e9c-d3298cc00d78" providerId="ADAL" clId="{E3BEE011-BDE0-4924-857F-571F4CEA325A}" dt="2021-03-17T03:31:26.886" v="1879" actId="113"/>
          <ac:spMkLst>
            <pc:docMk/>
            <pc:sldMk cId="2495288789" sldId="2146846419"/>
            <ac:spMk id="6" creationId="{3D8384C1-5DD0-4F35-B554-A7C273CFBB05}"/>
          </ac:spMkLst>
        </pc:spChg>
      </pc:sldChg>
      <pc:sldChg chg="modSp mod">
        <pc:chgData name="Kyle Akepanidtaworn" userId="4250081e-2882-4185-9e9c-d3298cc00d78" providerId="ADAL" clId="{E3BEE011-BDE0-4924-857F-571F4CEA325A}" dt="2021-03-17T03:16:40.633" v="1429" actId="1076"/>
        <pc:sldMkLst>
          <pc:docMk/>
          <pc:sldMk cId="3663674221" sldId="2146846420"/>
        </pc:sldMkLst>
        <pc:spChg chg="mod">
          <ac:chgData name="Kyle Akepanidtaworn" userId="4250081e-2882-4185-9e9c-d3298cc00d78" providerId="ADAL" clId="{E3BEE011-BDE0-4924-857F-571F4CEA325A}" dt="2021-03-17T03:16:19.260" v="1421" actId="108"/>
          <ac:spMkLst>
            <pc:docMk/>
            <pc:sldMk cId="3663674221" sldId="2146846420"/>
            <ac:spMk id="2" creationId="{222F6F0D-D183-474E-B63D-492DD51C35E1}"/>
          </ac:spMkLst>
        </pc:spChg>
        <pc:spChg chg="mod">
          <ac:chgData name="Kyle Akepanidtaworn" userId="4250081e-2882-4185-9e9c-d3298cc00d78" providerId="ADAL" clId="{E3BEE011-BDE0-4924-857F-571F4CEA325A}" dt="2021-03-17T03:16:40.633" v="1429" actId="1076"/>
          <ac:spMkLst>
            <pc:docMk/>
            <pc:sldMk cId="3663674221" sldId="2146846420"/>
            <ac:spMk id="35" creationId="{BCDDAA8A-5314-4374-AE63-E924F9BC1A9C}"/>
          </ac:spMkLst>
        </pc:spChg>
        <pc:spChg chg="mod">
          <ac:chgData name="Kyle Akepanidtaworn" userId="4250081e-2882-4185-9e9c-d3298cc00d78" providerId="ADAL" clId="{E3BEE011-BDE0-4924-857F-571F4CEA325A}" dt="2021-03-17T03:16:27.363" v="1427" actId="1076"/>
          <ac:spMkLst>
            <pc:docMk/>
            <pc:sldMk cId="3663674221" sldId="2146846420"/>
            <ac:spMk id="55" creationId="{9CF7B8B1-1B80-45B0-9FF2-7920B9D4BEBB}"/>
          </ac:spMkLst>
        </pc:spChg>
      </pc:sldChg>
      <pc:sldChg chg="modSp mod">
        <pc:chgData name="Kyle Akepanidtaworn" userId="4250081e-2882-4185-9e9c-d3298cc00d78" providerId="ADAL" clId="{E3BEE011-BDE0-4924-857F-571F4CEA325A}" dt="2021-03-17T03:17:16.475" v="1434" actId="1076"/>
        <pc:sldMkLst>
          <pc:docMk/>
          <pc:sldMk cId="898528077" sldId="2146846423"/>
        </pc:sldMkLst>
        <pc:spChg chg="mod">
          <ac:chgData name="Kyle Akepanidtaworn" userId="4250081e-2882-4185-9e9c-d3298cc00d78" providerId="ADAL" clId="{E3BEE011-BDE0-4924-857F-571F4CEA325A}" dt="2021-03-17T03:17:08.482" v="1432" actId="108"/>
          <ac:spMkLst>
            <pc:docMk/>
            <pc:sldMk cId="898528077" sldId="2146846423"/>
            <ac:spMk id="2" creationId="{222F6F0D-D183-474E-B63D-492DD51C35E1}"/>
          </ac:spMkLst>
        </pc:spChg>
        <pc:spChg chg="mod">
          <ac:chgData name="Kyle Akepanidtaworn" userId="4250081e-2882-4185-9e9c-d3298cc00d78" providerId="ADAL" clId="{E3BEE011-BDE0-4924-857F-571F4CEA325A}" dt="2021-03-17T03:17:16.475" v="1434" actId="1076"/>
          <ac:spMkLst>
            <pc:docMk/>
            <pc:sldMk cId="898528077" sldId="2146846423"/>
            <ac:spMk id="36" creationId="{91028DC9-BA6D-4854-B91B-7ED6136F1DA0}"/>
          </ac:spMkLst>
        </pc:spChg>
      </pc:sldChg>
      <pc:sldChg chg="modSp del mod">
        <pc:chgData name="Kyle Akepanidtaworn" userId="4250081e-2882-4185-9e9c-d3298cc00d78" providerId="ADAL" clId="{E3BEE011-BDE0-4924-857F-571F4CEA325A}" dt="2021-03-17T03:11:59.647" v="1381" actId="47"/>
        <pc:sldMkLst>
          <pc:docMk/>
          <pc:sldMk cId="944481489" sldId="2146846425"/>
        </pc:sldMkLst>
        <pc:spChg chg="mod">
          <ac:chgData name="Kyle Akepanidtaworn" userId="4250081e-2882-4185-9e9c-d3298cc00d78" providerId="ADAL" clId="{E3BEE011-BDE0-4924-857F-571F4CEA325A}" dt="2021-03-17T03:06:38.203" v="1279" actId="1076"/>
          <ac:spMkLst>
            <pc:docMk/>
            <pc:sldMk cId="944481489" sldId="2146846425"/>
            <ac:spMk id="18" creationId="{CD399C94-9FE8-4FF4-A998-8F0E0415F3C0}"/>
          </ac:spMkLst>
        </pc:spChg>
      </pc:sldChg>
      <pc:sldChg chg="del">
        <pc:chgData name="Kyle Akepanidtaworn" userId="4250081e-2882-4185-9e9c-d3298cc00d78" providerId="ADAL" clId="{E3BEE011-BDE0-4924-857F-571F4CEA325A}" dt="2021-03-17T03:14:42.157" v="1420" actId="47"/>
        <pc:sldMkLst>
          <pc:docMk/>
          <pc:sldMk cId="2567221917" sldId="2146846426"/>
        </pc:sldMkLst>
      </pc:sldChg>
      <pc:sldChg chg="del">
        <pc:chgData name="Kyle Akepanidtaworn" userId="4250081e-2882-4185-9e9c-d3298cc00d78" providerId="ADAL" clId="{E3BEE011-BDE0-4924-857F-571F4CEA325A}" dt="2021-03-17T03:28:15.265" v="1725" actId="47"/>
        <pc:sldMkLst>
          <pc:docMk/>
          <pc:sldMk cId="1283394877" sldId="2146846427"/>
        </pc:sldMkLst>
      </pc:sldChg>
      <pc:sldChg chg="del">
        <pc:chgData name="Kyle Akepanidtaworn" userId="4250081e-2882-4185-9e9c-d3298cc00d78" providerId="ADAL" clId="{E3BEE011-BDE0-4924-857F-571F4CEA325A}" dt="2021-03-17T03:28:15.265" v="1725" actId="47"/>
        <pc:sldMkLst>
          <pc:docMk/>
          <pc:sldMk cId="59736145" sldId="2146846428"/>
        </pc:sldMkLst>
      </pc:sldChg>
      <pc:sldChg chg="del">
        <pc:chgData name="Kyle Akepanidtaworn" userId="4250081e-2882-4185-9e9c-d3298cc00d78" providerId="ADAL" clId="{E3BEE011-BDE0-4924-857F-571F4CEA325A}" dt="2021-03-17T03:28:15.265" v="1725" actId="47"/>
        <pc:sldMkLst>
          <pc:docMk/>
          <pc:sldMk cId="2699566970" sldId="2146846429"/>
        </pc:sldMkLst>
      </pc:sldChg>
      <pc:sldChg chg="del">
        <pc:chgData name="Kyle Akepanidtaworn" userId="4250081e-2882-4185-9e9c-d3298cc00d78" providerId="ADAL" clId="{E3BEE011-BDE0-4924-857F-571F4CEA325A}" dt="2021-03-17T03:28:15.265" v="1725" actId="47"/>
        <pc:sldMkLst>
          <pc:docMk/>
          <pc:sldMk cId="1753903435" sldId="2146846430"/>
        </pc:sldMkLst>
      </pc:sldChg>
      <pc:sldChg chg="del">
        <pc:chgData name="Kyle Akepanidtaworn" userId="4250081e-2882-4185-9e9c-d3298cc00d78" providerId="ADAL" clId="{E3BEE011-BDE0-4924-857F-571F4CEA325A}" dt="2021-03-17T03:28:15.265" v="1725" actId="47"/>
        <pc:sldMkLst>
          <pc:docMk/>
          <pc:sldMk cId="4001252887" sldId="2146846431"/>
        </pc:sldMkLst>
      </pc:sldChg>
      <pc:sldChg chg="addSp delSp modSp add mod">
        <pc:chgData name="Kyle Akepanidtaworn" userId="4250081e-2882-4185-9e9c-d3298cc00d78" providerId="ADAL" clId="{E3BEE011-BDE0-4924-857F-571F4CEA325A}" dt="2021-03-19T01:46:55.972" v="2042" actId="20577"/>
        <pc:sldMkLst>
          <pc:docMk/>
          <pc:sldMk cId="717121598" sldId="2146846432"/>
        </pc:sldMkLst>
        <pc:spChg chg="add mod">
          <ac:chgData name="Kyle Akepanidtaworn" userId="4250081e-2882-4185-9e9c-d3298cc00d78" providerId="ADAL" clId="{E3BEE011-BDE0-4924-857F-571F4CEA325A}" dt="2021-03-17T03:10:13.594" v="1352" actId="14100"/>
          <ac:spMkLst>
            <pc:docMk/>
            <pc:sldMk cId="717121598" sldId="2146846432"/>
            <ac:spMk id="4" creationId="{62F2353F-F3C4-45BB-AFBC-B1D3DDF5FF0B}"/>
          </ac:spMkLst>
        </pc:spChg>
        <pc:spChg chg="add mod">
          <ac:chgData name="Kyle Akepanidtaworn" userId="4250081e-2882-4185-9e9c-d3298cc00d78" providerId="ADAL" clId="{E3BEE011-BDE0-4924-857F-571F4CEA325A}" dt="2021-03-19T01:46:55.972" v="2042" actId="20577"/>
          <ac:spMkLst>
            <pc:docMk/>
            <pc:sldMk cId="717121598" sldId="2146846432"/>
            <ac:spMk id="16" creationId="{5FA9AB01-47D6-49FF-AC72-699730C03BEB}"/>
          </ac:spMkLst>
        </pc:spChg>
        <pc:spChg chg="add del">
          <ac:chgData name="Kyle Akepanidtaworn" userId="4250081e-2882-4185-9e9c-d3298cc00d78" providerId="ADAL" clId="{E3BEE011-BDE0-4924-857F-571F4CEA325A}" dt="2021-03-17T03:11:10.819" v="1370" actId="22"/>
          <ac:spMkLst>
            <pc:docMk/>
            <pc:sldMk cId="717121598" sldId="2146846432"/>
            <ac:spMk id="17" creationId="{EABA393B-EDB1-4022-9B50-D855A0B3756B}"/>
          </ac:spMkLst>
        </pc:spChg>
        <pc:spChg chg="mod">
          <ac:chgData name="Kyle Akepanidtaworn" userId="4250081e-2882-4185-9e9c-d3298cc00d78" providerId="ADAL" clId="{E3BEE011-BDE0-4924-857F-571F4CEA325A}" dt="2021-03-17T03:11:23.326" v="1373" actId="1076"/>
          <ac:spMkLst>
            <pc:docMk/>
            <pc:sldMk cId="717121598" sldId="2146846432"/>
            <ac:spMk id="54" creationId="{F5DB7C81-36AB-450C-A520-2770AC44747C}"/>
          </ac:spMkLst>
        </pc:spChg>
        <pc:spChg chg="mod">
          <ac:chgData name="Kyle Akepanidtaworn" userId="4250081e-2882-4185-9e9c-d3298cc00d78" providerId="ADAL" clId="{E3BEE011-BDE0-4924-857F-571F4CEA325A}" dt="2021-03-17T03:11:23.326" v="1373" actId="1076"/>
          <ac:spMkLst>
            <pc:docMk/>
            <pc:sldMk cId="717121598" sldId="2146846432"/>
            <ac:spMk id="55" creationId="{E28C234B-CEB7-419C-A41B-5FCC334F04CB}"/>
          </ac:spMkLst>
        </pc:spChg>
        <pc:spChg chg="mod">
          <ac:chgData name="Kyle Akepanidtaworn" userId="4250081e-2882-4185-9e9c-d3298cc00d78" providerId="ADAL" clId="{E3BEE011-BDE0-4924-857F-571F4CEA325A}" dt="2021-03-17T03:11:23.326" v="1373" actId="1076"/>
          <ac:spMkLst>
            <pc:docMk/>
            <pc:sldMk cId="717121598" sldId="2146846432"/>
            <ac:spMk id="56" creationId="{05A15FF0-60BB-4717-8A92-BAA8F4BC6AE1}"/>
          </ac:spMkLst>
        </pc:spChg>
        <pc:spChg chg="mod">
          <ac:chgData name="Kyle Akepanidtaworn" userId="4250081e-2882-4185-9e9c-d3298cc00d78" providerId="ADAL" clId="{E3BEE011-BDE0-4924-857F-571F4CEA325A}" dt="2021-03-17T03:11:23.326" v="1373" actId="1076"/>
          <ac:spMkLst>
            <pc:docMk/>
            <pc:sldMk cId="717121598" sldId="2146846432"/>
            <ac:spMk id="57" creationId="{CA44850E-28CB-4E64-829E-A32D2C652B2D}"/>
          </ac:spMkLst>
        </pc:spChg>
        <pc:spChg chg="add del mod">
          <ac:chgData name="Kyle Akepanidtaworn" userId="4250081e-2882-4185-9e9c-d3298cc00d78" providerId="ADAL" clId="{E3BEE011-BDE0-4924-857F-571F4CEA325A}" dt="2021-03-17T03:11:24.028" v="1374"/>
          <ac:spMkLst>
            <pc:docMk/>
            <pc:sldMk cId="717121598" sldId="2146846432"/>
            <ac:spMk id="60" creationId="{9EA8BF43-56CC-4A19-85BE-09381C07837A}"/>
          </ac:spMkLst>
        </pc:spChg>
        <pc:spChg chg="add del mod">
          <ac:chgData name="Kyle Akepanidtaworn" userId="4250081e-2882-4185-9e9c-d3298cc00d78" providerId="ADAL" clId="{E3BEE011-BDE0-4924-857F-571F4CEA325A}" dt="2021-03-17T03:11:24.028" v="1374"/>
          <ac:spMkLst>
            <pc:docMk/>
            <pc:sldMk cId="717121598" sldId="2146846432"/>
            <ac:spMk id="61" creationId="{5B50DDE3-6593-43A8-AE1C-1141BBB11E8E}"/>
          </ac:spMkLst>
        </pc:spChg>
        <pc:spChg chg="add del mod">
          <ac:chgData name="Kyle Akepanidtaworn" userId="4250081e-2882-4185-9e9c-d3298cc00d78" providerId="ADAL" clId="{E3BEE011-BDE0-4924-857F-571F4CEA325A}" dt="2021-03-17T03:11:24.028" v="1374"/>
          <ac:spMkLst>
            <pc:docMk/>
            <pc:sldMk cId="717121598" sldId="2146846432"/>
            <ac:spMk id="62" creationId="{2E5C2705-23DA-4ECD-BA58-25FFA9195E09}"/>
          </ac:spMkLst>
        </pc:spChg>
        <pc:spChg chg="add del mod">
          <ac:chgData name="Kyle Akepanidtaworn" userId="4250081e-2882-4185-9e9c-d3298cc00d78" providerId="ADAL" clId="{E3BEE011-BDE0-4924-857F-571F4CEA325A}" dt="2021-03-17T03:11:24.028" v="1374"/>
          <ac:spMkLst>
            <pc:docMk/>
            <pc:sldMk cId="717121598" sldId="2146846432"/>
            <ac:spMk id="63" creationId="{46B3BCE2-51C9-49DD-9C0D-C899F2F35EFA}"/>
          </ac:spMkLst>
        </pc:spChg>
        <pc:spChg chg="add del mod">
          <ac:chgData name="Kyle Akepanidtaworn" userId="4250081e-2882-4185-9e9c-d3298cc00d78" providerId="ADAL" clId="{E3BEE011-BDE0-4924-857F-571F4CEA325A}" dt="2021-03-17T03:11:24.028" v="1374"/>
          <ac:spMkLst>
            <pc:docMk/>
            <pc:sldMk cId="717121598" sldId="2146846432"/>
            <ac:spMk id="64" creationId="{6D343585-F342-4E5E-9830-8C32F7F1912F}"/>
          </ac:spMkLst>
        </pc:spChg>
        <pc:spChg chg="add del mod">
          <ac:chgData name="Kyle Akepanidtaworn" userId="4250081e-2882-4185-9e9c-d3298cc00d78" providerId="ADAL" clId="{E3BEE011-BDE0-4924-857F-571F4CEA325A}" dt="2021-03-17T03:11:24.028" v="1374"/>
          <ac:spMkLst>
            <pc:docMk/>
            <pc:sldMk cId="717121598" sldId="2146846432"/>
            <ac:spMk id="68" creationId="{B62A8536-F6B8-4A95-BCBB-5446F867546F}"/>
          </ac:spMkLst>
        </pc:spChg>
        <pc:spChg chg="add del mod">
          <ac:chgData name="Kyle Akepanidtaworn" userId="4250081e-2882-4185-9e9c-d3298cc00d78" providerId="ADAL" clId="{E3BEE011-BDE0-4924-857F-571F4CEA325A}" dt="2021-03-17T03:11:24.028" v="1374"/>
          <ac:spMkLst>
            <pc:docMk/>
            <pc:sldMk cId="717121598" sldId="2146846432"/>
            <ac:spMk id="69" creationId="{602BCD70-544D-4CCD-8FF8-A400E804EC75}"/>
          </ac:spMkLst>
        </pc:spChg>
        <pc:spChg chg="add del mod">
          <ac:chgData name="Kyle Akepanidtaworn" userId="4250081e-2882-4185-9e9c-d3298cc00d78" providerId="ADAL" clId="{E3BEE011-BDE0-4924-857F-571F4CEA325A}" dt="2021-03-17T03:11:24.028" v="1374"/>
          <ac:spMkLst>
            <pc:docMk/>
            <pc:sldMk cId="717121598" sldId="2146846432"/>
            <ac:spMk id="70" creationId="{D77F96D8-94CF-4F5C-99A2-AECC042FD162}"/>
          </ac:spMkLst>
        </pc:spChg>
        <pc:spChg chg="add del mod">
          <ac:chgData name="Kyle Akepanidtaworn" userId="4250081e-2882-4185-9e9c-d3298cc00d78" providerId="ADAL" clId="{E3BEE011-BDE0-4924-857F-571F4CEA325A}" dt="2021-03-17T03:11:24.028" v="1374"/>
          <ac:spMkLst>
            <pc:docMk/>
            <pc:sldMk cId="717121598" sldId="2146846432"/>
            <ac:spMk id="71" creationId="{0E9291C3-87DA-422A-AB5B-7EA576A1508A}"/>
          </ac:spMkLst>
        </pc:spChg>
        <pc:grpChg chg="mod">
          <ac:chgData name="Kyle Akepanidtaworn" userId="4250081e-2882-4185-9e9c-d3298cc00d78" providerId="ADAL" clId="{E3BEE011-BDE0-4924-857F-571F4CEA325A}" dt="2021-03-17T03:10:06.873" v="1350" actId="1076"/>
          <ac:grpSpMkLst>
            <pc:docMk/>
            <pc:sldMk cId="717121598" sldId="2146846432"/>
            <ac:grpSpMk id="21" creationId="{46EF8EC8-1F30-4884-BA0D-A86D4E709D5F}"/>
          </ac:grpSpMkLst>
        </pc:grpChg>
        <pc:grpChg chg="add del mod">
          <ac:chgData name="Kyle Akepanidtaworn" userId="4250081e-2882-4185-9e9c-d3298cc00d78" providerId="ADAL" clId="{E3BEE011-BDE0-4924-857F-571F4CEA325A}" dt="2021-03-17T03:11:24.028" v="1374"/>
          <ac:grpSpMkLst>
            <pc:docMk/>
            <pc:sldMk cId="717121598" sldId="2146846432"/>
            <ac:grpSpMk id="53" creationId="{B4A4B663-AF12-4A14-BCC4-F6F5E9EE4A54}"/>
          </ac:grpSpMkLst>
        </pc:grpChg>
        <pc:picChg chg="add del mod">
          <ac:chgData name="Kyle Akepanidtaworn" userId="4250081e-2882-4185-9e9c-d3298cc00d78" providerId="ADAL" clId="{E3BEE011-BDE0-4924-857F-571F4CEA325A}" dt="2021-03-17T03:11:24.028" v="1374"/>
          <ac:picMkLst>
            <pc:docMk/>
            <pc:sldMk cId="717121598" sldId="2146846432"/>
            <ac:picMk id="58" creationId="{ABDEEDC8-57A0-4AA0-A3E9-1081C5B423A8}"/>
          </ac:picMkLst>
        </pc:picChg>
        <pc:cxnChg chg="add mod">
          <ac:chgData name="Kyle Akepanidtaworn" userId="4250081e-2882-4185-9e9c-d3298cc00d78" providerId="ADAL" clId="{E3BEE011-BDE0-4924-857F-571F4CEA325A}" dt="2021-03-17T03:10:32.164" v="1358" actId="14100"/>
          <ac:cxnSpMkLst>
            <pc:docMk/>
            <pc:sldMk cId="717121598" sldId="2146846432"/>
            <ac:cxnSpMk id="5" creationId="{6D33279C-6EDA-48FA-86C6-61AD5D14E59A}"/>
          </ac:cxnSpMkLst>
        </pc:cxnChg>
        <pc:cxnChg chg="add del mod">
          <ac:chgData name="Kyle Akepanidtaworn" userId="4250081e-2882-4185-9e9c-d3298cc00d78" providerId="ADAL" clId="{E3BEE011-BDE0-4924-857F-571F4CEA325A}" dt="2021-03-17T03:11:24.028" v="1374"/>
          <ac:cxnSpMkLst>
            <pc:docMk/>
            <pc:sldMk cId="717121598" sldId="2146846432"/>
            <ac:cxnSpMk id="59" creationId="{AF182783-B97F-4048-B92F-6D8A59CB5660}"/>
          </ac:cxnSpMkLst>
        </pc:cxnChg>
        <pc:cxnChg chg="add del mod">
          <ac:chgData name="Kyle Akepanidtaworn" userId="4250081e-2882-4185-9e9c-d3298cc00d78" providerId="ADAL" clId="{E3BEE011-BDE0-4924-857F-571F4CEA325A}" dt="2021-03-17T03:11:24.028" v="1374"/>
          <ac:cxnSpMkLst>
            <pc:docMk/>
            <pc:sldMk cId="717121598" sldId="2146846432"/>
            <ac:cxnSpMk id="65" creationId="{49EA2B5B-36E6-49E6-B8B0-AAB8C401B200}"/>
          </ac:cxnSpMkLst>
        </pc:cxnChg>
        <pc:cxnChg chg="add del mod">
          <ac:chgData name="Kyle Akepanidtaworn" userId="4250081e-2882-4185-9e9c-d3298cc00d78" providerId="ADAL" clId="{E3BEE011-BDE0-4924-857F-571F4CEA325A}" dt="2021-03-17T03:11:24.028" v="1374"/>
          <ac:cxnSpMkLst>
            <pc:docMk/>
            <pc:sldMk cId="717121598" sldId="2146846432"/>
            <ac:cxnSpMk id="66" creationId="{F1E5C135-482A-49FA-ADF8-24AB304ED401}"/>
          </ac:cxnSpMkLst>
        </pc:cxnChg>
        <pc:cxnChg chg="add del mod">
          <ac:chgData name="Kyle Akepanidtaworn" userId="4250081e-2882-4185-9e9c-d3298cc00d78" providerId="ADAL" clId="{E3BEE011-BDE0-4924-857F-571F4CEA325A}" dt="2021-03-17T03:11:24.028" v="1374"/>
          <ac:cxnSpMkLst>
            <pc:docMk/>
            <pc:sldMk cId="717121598" sldId="2146846432"/>
            <ac:cxnSpMk id="67" creationId="{9DF4AC8C-7ED8-4292-8B15-7199FFEFDA23}"/>
          </ac:cxnSpMkLst>
        </pc:cxnChg>
      </pc:sldChg>
      <pc:sldChg chg="add del">
        <pc:chgData name="Kyle Akepanidtaworn" userId="4250081e-2882-4185-9e9c-d3298cc00d78" providerId="ADAL" clId="{E3BEE011-BDE0-4924-857F-571F4CEA325A}" dt="2021-03-17T03:09:58.843" v="1347" actId="22"/>
        <pc:sldMkLst>
          <pc:docMk/>
          <pc:sldMk cId="2783206677" sldId="2146846433"/>
        </pc:sldMkLst>
      </pc:sldChg>
      <pc:sldChg chg="addSp modSp add mod">
        <pc:chgData name="Kyle Akepanidtaworn" userId="4250081e-2882-4185-9e9c-d3298cc00d78" providerId="ADAL" clId="{E3BEE011-BDE0-4924-857F-571F4CEA325A}" dt="2021-03-17T03:12:20.348" v="1398" actId="20577"/>
        <pc:sldMkLst>
          <pc:docMk/>
          <pc:sldMk cId="4222585927" sldId="2146846433"/>
        </pc:sldMkLst>
        <pc:spChg chg="mod">
          <ac:chgData name="Kyle Akepanidtaworn" userId="4250081e-2882-4185-9e9c-d3298cc00d78" providerId="ADAL" clId="{E3BEE011-BDE0-4924-857F-571F4CEA325A}" dt="2021-03-17T03:12:20.348" v="1398" actId="20577"/>
          <ac:spMkLst>
            <pc:docMk/>
            <pc:sldMk cId="4222585927" sldId="2146846433"/>
            <ac:spMk id="16" creationId="{5FA9AB01-47D6-49FF-AC72-699730C03BEB}"/>
          </ac:spMkLst>
        </pc:spChg>
        <pc:spChg chg="mod">
          <ac:chgData name="Kyle Akepanidtaworn" userId="4250081e-2882-4185-9e9c-d3298cc00d78" providerId="ADAL" clId="{E3BEE011-BDE0-4924-857F-571F4CEA325A}" dt="2021-03-17T03:11:41.427" v="1377" actId="1076"/>
          <ac:spMkLst>
            <pc:docMk/>
            <pc:sldMk cId="4222585927" sldId="2146846433"/>
            <ac:spMk id="46" creationId="{7CDA9B8C-3F8E-4DD3-AE8A-E14831FE0653}"/>
          </ac:spMkLst>
        </pc:spChg>
        <pc:spChg chg="mod">
          <ac:chgData name="Kyle Akepanidtaworn" userId="4250081e-2882-4185-9e9c-d3298cc00d78" providerId="ADAL" clId="{E3BEE011-BDE0-4924-857F-571F4CEA325A}" dt="2021-03-17T03:11:41.427" v="1377" actId="1076"/>
          <ac:spMkLst>
            <pc:docMk/>
            <pc:sldMk cId="4222585927" sldId="2146846433"/>
            <ac:spMk id="47" creationId="{9EDDD8B7-3FE8-4464-89A9-7F76B9C6B456}"/>
          </ac:spMkLst>
        </pc:spChg>
        <pc:spChg chg="mod">
          <ac:chgData name="Kyle Akepanidtaworn" userId="4250081e-2882-4185-9e9c-d3298cc00d78" providerId="ADAL" clId="{E3BEE011-BDE0-4924-857F-571F4CEA325A}" dt="2021-03-17T03:11:41.427" v="1377" actId="1076"/>
          <ac:spMkLst>
            <pc:docMk/>
            <pc:sldMk cId="4222585927" sldId="2146846433"/>
            <ac:spMk id="48" creationId="{88ACB504-A8CD-4CE6-8C2E-C606DB9540F1}"/>
          </ac:spMkLst>
        </pc:spChg>
        <pc:spChg chg="mod">
          <ac:chgData name="Kyle Akepanidtaworn" userId="4250081e-2882-4185-9e9c-d3298cc00d78" providerId="ADAL" clId="{E3BEE011-BDE0-4924-857F-571F4CEA325A}" dt="2021-03-17T03:11:41.427" v="1377" actId="1076"/>
          <ac:spMkLst>
            <pc:docMk/>
            <pc:sldMk cId="4222585927" sldId="2146846433"/>
            <ac:spMk id="49" creationId="{15FBBEDC-1CAE-4528-8756-5371E1568235}"/>
          </ac:spMkLst>
        </pc:spChg>
        <pc:spChg chg="add mod">
          <ac:chgData name="Kyle Akepanidtaworn" userId="4250081e-2882-4185-9e9c-d3298cc00d78" providerId="ADAL" clId="{E3BEE011-BDE0-4924-857F-571F4CEA325A}" dt="2021-03-17T03:11:41.427" v="1377" actId="1076"/>
          <ac:spMkLst>
            <pc:docMk/>
            <pc:sldMk cId="4222585927" sldId="2146846433"/>
            <ac:spMk id="51" creationId="{D8027A8D-55EC-4F02-8845-25F2509EE3FA}"/>
          </ac:spMkLst>
        </pc:spChg>
        <pc:spChg chg="add mod">
          <ac:chgData name="Kyle Akepanidtaworn" userId="4250081e-2882-4185-9e9c-d3298cc00d78" providerId="ADAL" clId="{E3BEE011-BDE0-4924-857F-571F4CEA325A}" dt="2021-03-17T03:11:41.427" v="1377" actId="1076"/>
          <ac:spMkLst>
            <pc:docMk/>
            <pc:sldMk cId="4222585927" sldId="2146846433"/>
            <ac:spMk id="52" creationId="{05E3C315-904D-4786-80A1-B7A462E8AD8C}"/>
          </ac:spMkLst>
        </pc:spChg>
        <pc:spChg chg="add mod">
          <ac:chgData name="Kyle Akepanidtaworn" userId="4250081e-2882-4185-9e9c-d3298cc00d78" providerId="ADAL" clId="{E3BEE011-BDE0-4924-857F-571F4CEA325A}" dt="2021-03-17T03:11:41.427" v="1377" actId="1076"/>
          <ac:spMkLst>
            <pc:docMk/>
            <pc:sldMk cId="4222585927" sldId="2146846433"/>
            <ac:spMk id="53" creationId="{A23763C8-FDFE-4B45-8730-338547B2185D}"/>
          </ac:spMkLst>
        </pc:spChg>
        <pc:spChg chg="add mod">
          <ac:chgData name="Kyle Akepanidtaworn" userId="4250081e-2882-4185-9e9c-d3298cc00d78" providerId="ADAL" clId="{E3BEE011-BDE0-4924-857F-571F4CEA325A}" dt="2021-03-17T03:11:41.427" v="1377" actId="1076"/>
          <ac:spMkLst>
            <pc:docMk/>
            <pc:sldMk cId="4222585927" sldId="2146846433"/>
            <ac:spMk id="54" creationId="{D8834A00-9BAC-4392-B658-724A463D47B7}"/>
          </ac:spMkLst>
        </pc:spChg>
        <pc:spChg chg="add mod">
          <ac:chgData name="Kyle Akepanidtaworn" userId="4250081e-2882-4185-9e9c-d3298cc00d78" providerId="ADAL" clId="{E3BEE011-BDE0-4924-857F-571F4CEA325A}" dt="2021-03-17T03:11:41.427" v="1377" actId="1076"/>
          <ac:spMkLst>
            <pc:docMk/>
            <pc:sldMk cId="4222585927" sldId="2146846433"/>
            <ac:spMk id="55" creationId="{FA3C5F8C-0074-4740-9027-B7BE6C3D720E}"/>
          </ac:spMkLst>
        </pc:spChg>
        <pc:spChg chg="add mod">
          <ac:chgData name="Kyle Akepanidtaworn" userId="4250081e-2882-4185-9e9c-d3298cc00d78" providerId="ADAL" clId="{E3BEE011-BDE0-4924-857F-571F4CEA325A}" dt="2021-03-17T03:11:41.427" v="1377" actId="1076"/>
          <ac:spMkLst>
            <pc:docMk/>
            <pc:sldMk cId="4222585927" sldId="2146846433"/>
            <ac:spMk id="59" creationId="{C2FF0A63-B3A1-4A38-A7E9-E1D6224398FB}"/>
          </ac:spMkLst>
        </pc:spChg>
        <pc:spChg chg="add mod">
          <ac:chgData name="Kyle Akepanidtaworn" userId="4250081e-2882-4185-9e9c-d3298cc00d78" providerId="ADAL" clId="{E3BEE011-BDE0-4924-857F-571F4CEA325A}" dt="2021-03-17T03:11:41.427" v="1377" actId="1076"/>
          <ac:spMkLst>
            <pc:docMk/>
            <pc:sldMk cId="4222585927" sldId="2146846433"/>
            <ac:spMk id="60" creationId="{16387F35-FF26-41C4-A4C3-CDE4C7CD3524}"/>
          </ac:spMkLst>
        </pc:spChg>
        <pc:spChg chg="add mod">
          <ac:chgData name="Kyle Akepanidtaworn" userId="4250081e-2882-4185-9e9c-d3298cc00d78" providerId="ADAL" clId="{E3BEE011-BDE0-4924-857F-571F4CEA325A}" dt="2021-03-17T03:11:41.427" v="1377" actId="1076"/>
          <ac:spMkLst>
            <pc:docMk/>
            <pc:sldMk cId="4222585927" sldId="2146846433"/>
            <ac:spMk id="61" creationId="{30CCDC8C-5382-4B73-8E1D-5A3E0093DB89}"/>
          </ac:spMkLst>
        </pc:spChg>
        <pc:spChg chg="add mod">
          <ac:chgData name="Kyle Akepanidtaworn" userId="4250081e-2882-4185-9e9c-d3298cc00d78" providerId="ADAL" clId="{E3BEE011-BDE0-4924-857F-571F4CEA325A}" dt="2021-03-17T03:11:41.427" v="1377" actId="1076"/>
          <ac:spMkLst>
            <pc:docMk/>
            <pc:sldMk cId="4222585927" sldId="2146846433"/>
            <ac:spMk id="62" creationId="{71AF4850-F9AD-404D-878C-23CA65A7B9A4}"/>
          </ac:spMkLst>
        </pc:spChg>
        <pc:grpChg chg="add">
          <ac:chgData name="Kyle Akepanidtaworn" userId="4250081e-2882-4185-9e9c-d3298cc00d78" providerId="ADAL" clId="{E3BEE011-BDE0-4924-857F-571F4CEA325A}" dt="2021-03-17T03:11:56.783" v="1380" actId="164"/>
          <ac:grpSpMkLst>
            <pc:docMk/>
            <pc:sldMk cId="4222585927" sldId="2146846433"/>
            <ac:grpSpMk id="8" creationId="{35B153C1-2B39-4184-9F71-FE78F1C94766}"/>
          </ac:grpSpMkLst>
        </pc:grpChg>
        <pc:grpChg chg="add mod">
          <ac:chgData name="Kyle Akepanidtaworn" userId="4250081e-2882-4185-9e9c-d3298cc00d78" providerId="ADAL" clId="{E3BEE011-BDE0-4924-857F-571F4CEA325A}" dt="2021-03-17T03:11:41.427" v="1377" actId="1076"/>
          <ac:grpSpMkLst>
            <pc:docMk/>
            <pc:sldMk cId="4222585927" sldId="2146846433"/>
            <ac:grpSpMk id="45" creationId="{E3DB0F09-D751-45C2-B15A-0BAE8B234808}"/>
          </ac:grpSpMkLst>
        </pc:grpChg>
        <pc:picChg chg="add mod">
          <ac:chgData name="Kyle Akepanidtaworn" userId="4250081e-2882-4185-9e9c-d3298cc00d78" providerId="ADAL" clId="{E3BEE011-BDE0-4924-857F-571F4CEA325A}" dt="2021-03-17T03:11:41.427" v="1377" actId="1076"/>
          <ac:picMkLst>
            <pc:docMk/>
            <pc:sldMk cId="4222585927" sldId="2146846433"/>
            <ac:picMk id="50" creationId="{934F8BBE-2CB7-46F0-AA5F-9BA1F9399FA3}"/>
          </ac:picMkLst>
        </pc:picChg>
        <pc:cxnChg chg="add mod">
          <ac:chgData name="Kyle Akepanidtaworn" userId="4250081e-2882-4185-9e9c-d3298cc00d78" providerId="ADAL" clId="{E3BEE011-BDE0-4924-857F-571F4CEA325A}" dt="2021-03-17T03:11:49.979" v="1379" actId="1076"/>
          <ac:cxnSpMkLst>
            <pc:docMk/>
            <pc:sldMk cId="4222585927" sldId="2146846433"/>
            <ac:cxnSpMk id="6" creationId="{32CA67B6-DC34-445C-89B2-FEDD522EFA3B}"/>
          </ac:cxnSpMkLst>
        </pc:cxnChg>
        <pc:cxnChg chg="add mod">
          <ac:chgData name="Kyle Akepanidtaworn" userId="4250081e-2882-4185-9e9c-d3298cc00d78" providerId="ADAL" clId="{E3BEE011-BDE0-4924-857F-571F4CEA325A}" dt="2021-03-17T03:11:41.427" v="1377" actId="1076"/>
          <ac:cxnSpMkLst>
            <pc:docMk/>
            <pc:sldMk cId="4222585927" sldId="2146846433"/>
            <ac:cxnSpMk id="56" creationId="{9DA7EA90-19AA-4D40-B773-F40859F88BB5}"/>
          </ac:cxnSpMkLst>
        </pc:cxnChg>
        <pc:cxnChg chg="add mod">
          <ac:chgData name="Kyle Akepanidtaworn" userId="4250081e-2882-4185-9e9c-d3298cc00d78" providerId="ADAL" clId="{E3BEE011-BDE0-4924-857F-571F4CEA325A}" dt="2021-03-17T03:11:41.427" v="1377" actId="1076"/>
          <ac:cxnSpMkLst>
            <pc:docMk/>
            <pc:sldMk cId="4222585927" sldId="2146846433"/>
            <ac:cxnSpMk id="57" creationId="{02E2729C-2F7E-4F18-8604-EEB99A0B61E9}"/>
          </ac:cxnSpMkLst>
        </pc:cxnChg>
        <pc:cxnChg chg="add mod">
          <ac:chgData name="Kyle Akepanidtaworn" userId="4250081e-2882-4185-9e9c-d3298cc00d78" providerId="ADAL" clId="{E3BEE011-BDE0-4924-857F-571F4CEA325A}" dt="2021-03-17T03:11:41.427" v="1377" actId="1076"/>
          <ac:cxnSpMkLst>
            <pc:docMk/>
            <pc:sldMk cId="4222585927" sldId="2146846433"/>
            <ac:cxnSpMk id="58" creationId="{BCA5F040-F7A3-4614-A0A6-746DBE64C2BB}"/>
          </ac:cxnSpMkLst>
        </pc:cxnChg>
      </pc:sldChg>
      <pc:sldChg chg="add">
        <pc:chgData name="Kyle Akepanidtaworn" userId="4250081e-2882-4185-9e9c-d3298cc00d78" providerId="ADAL" clId="{E3BEE011-BDE0-4924-857F-571F4CEA325A}" dt="2021-03-17T03:13:00.370" v="1399"/>
        <pc:sldMkLst>
          <pc:docMk/>
          <pc:sldMk cId="4141626266" sldId="2146846434"/>
        </pc:sldMkLst>
      </pc:sldChg>
      <pc:sldChg chg="addSp delSp modSp add mod">
        <pc:chgData name="Kyle Akepanidtaworn" userId="4250081e-2882-4185-9e9c-d3298cc00d78" providerId="ADAL" clId="{E3BEE011-BDE0-4924-857F-571F4CEA325A}" dt="2021-03-17T03:14:38.954" v="1419" actId="14100"/>
        <pc:sldMkLst>
          <pc:docMk/>
          <pc:sldMk cId="1550375621" sldId="2146846435"/>
        </pc:sldMkLst>
        <pc:spChg chg="del">
          <ac:chgData name="Kyle Akepanidtaworn" userId="4250081e-2882-4185-9e9c-d3298cc00d78" providerId="ADAL" clId="{E3BEE011-BDE0-4924-857F-571F4CEA325A}" dt="2021-03-17T03:13:20.762" v="1401" actId="478"/>
          <ac:spMkLst>
            <pc:docMk/>
            <pc:sldMk cId="1550375621" sldId="2146846435"/>
            <ac:spMk id="4" creationId="{62F2353F-F3C4-45BB-AFBC-B1D3DDF5FF0B}"/>
          </ac:spMkLst>
        </pc:spChg>
        <pc:spChg chg="add mod">
          <ac:chgData name="Kyle Akepanidtaworn" userId="4250081e-2882-4185-9e9c-d3298cc00d78" providerId="ADAL" clId="{E3BEE011-BDE0-4924-857F-571F4CEA325A}" dt="2021-03-17T03:13:35.779" v="1405" actId="14100"/>
          <ac:spMkLst>
            <pc:docMk/>
            <pc:sldMk cId="1550375621" sldId="2146846435"/>
            <ac:spMk id="6" creationId="{36204592-87D2-40F5-8D20-77F01DCA890D}"/>
          </ac:spMkLst>
        </pc:spChg>
        <pc:spChg chg="add mod">
          <ac:chgData name="Kyle Akepanidtaworn" userId="4250081e-2882-4185-9e9c-d3298cc00d78" providerId="ADAL" clId="{E3BEE011-BDE0-4924-857F-571F4CEA325A}" dt="2021-03-17T03:13:53.578" v="1409" actId="1076"/>
          <ac:spMkLst>
            <pc:docMk/>
            <pc:sldMk cId="1550375621" sldId="2146846435"/>
            <ac:spMk id="8" creationId="{E08A315B-EAAA-41C0-8D4B-60CAD50FE45F}"/>
          </ac:spMkLst>
        </pc:spChg>
        <pc:spChg chg="del">
          <ac:chgData name="Kyle Akepanidtaworn" userId="4250081e-2882-4185-9e9c-d3298cc00d78" providerId="ADAL" clId="{E3BEE011-BDE0-4924-857F-571F4CEA325A}" dt="2021-03-17T03:13:20.762" v="1401" actId="478"/>
          <ac:spMkLst>
            <pc:docMk/>
            <pc:sldMk cId="1550375621" sldId="2146846435"/>
            <ac:spMk id="16" creationId="{5FA9AB01-47D6-49FF-AC72-699730C03BEB}"/>
          </ac:spMkLst>
        </pc:spChg>
        <pc:spChg chg="add mod">
          <ac:chgData name="Kyle Akepanidtaworn" userId="4250081e-2882-4185-9e9c-d3298cc00d78" providerId="ADAL" clId="{E3BEE011-BDE0-4924-857F-571F4CEA325A}" dt="2021-03-17T03:14:27.475" v="1415" actId="1076"/>
          <ac:spMkLst>
            <pc:docMk/>
            <pc:sldMk cId="1550375621" sldId="2146846435"/>
            <ac:spMk id="22" creationId="{44D8BBF2-0925-4792-988A-B67BCACD968C}"/>
          </ac:spMkLst>
        </pc:spChg>
        <pc:spChg chg="add mod">
          <ac:chgData name="Kyle Akepanidtaworn" userId="4250081e-2882-4185-9e9c-d3298cc00d78" providerId="ADAL" clId="{E3BEE011-BDE0-4924-857F-571F4CEA325A}" dt="2021-03-17T03:14:27.475" v="1415" actId="1076"/>
          <ac:spMkLst>
            <pc:docMk/>
            <pc:sldMk cId="1550375621" sldId="2146846435"/>
            <ac:spMk id="23" creationId="{49FB75BF-77A4-4666-802B-ADAB41FDCC44}"/>
          </ac:spMkLst>
        </pc:spChg>
        <pc:spChg chg="add mod">
          <ac:chgData name="Kyle Akepanidtaworn" userId="4250081e-2882-4185-9e9c-d3298cc00d78" providerId="ADAL" clId="{E3BEE011-BDE0-4924-857F-571F4CEA325A}" dt="2021-03-17T03:14:27.475" v="1415" actId="1076"/>
          <ac:spMkLst>
            <pc:docMk/>
            <pc:sldMk cId="1550375621" sldId="2146846435"/>
            <ac:spMk id="24" creationId="{FE1F81F4-E3F0-41DD-BAFD-AF039EBAE601}"/>
          </ac:spMkLst>
        </pc:spChg>
        <pc:spChg chg="add mod">
          <ac:chgData name="Kyle Akepanidtaworn" userId="4250081e-2882-4185-9e9c-d3298cc00d78" providerId="ADAL" clId="{E3BEE011-BDE0-4924-857F-571F4CEA325A}" dt="2021-03-17T03:14:27.475" v="1415" actId="1076"/>
          <ac:spMkLst>
            <pc:docMk/>
            <pc:sldMk cId="1550375621" sldId="2146846435"/>
            <ac:spMk id="25" creationId="{8882C04E-76AC-40C6-BC0F-DAF0FD8A16C0}"/>
          </ac:spMkLst>
        </pc:spChg>
        <pc:spChg chg="add mod">
          <ac:chgData name="Kyle Akepanidtaworn" userId="4250081e-2882-4185-9e9c-d3298cc00d78" providerId="ADAL" clId="{E3BEE011-BDE0-4924-857F-571F4CEA325A}" dt="2021-03-17T03:14:27.475" v="1415" actId="1076"/>
          <ac:spMkLst>
            <pc:docMk/>
            <pc:sldMk cId="1550375621" sldId="2146846435"/>
            <ac:spMk id="26" creationId="{75F1789D-E8D1-4EC6-B4EB-8ED785E42730}"/>
          </ac:spMkLst>
        </pc:spChg>
        <pc:spChg chg="add mod">
          <ac:chgData name="Kyle Akepanidtaworn" userId="4250081e-2882-4185-9e9c-d3298cc00d78" providerId="ADAL" clId="{E3BEE011-BDE0-4924-857F-571F4CEA325A}" dt="2021-03-17T03:14:27.475" v="1415" actId="1076"/>
          <ac:spMkLst>
            <pc:docMk/>
            <pc:sldMk cId="1550375621" sldId="2146846435"/>
            <ac:spMk id="27" creationId="{8161C1F0-278E-4277-AB8F-81A7EC9F61CE}"/>
          </ac:spMkLst>
        </pc:spChg>
        <pc:spChg chg="add mod">
          <ac:chgData name="Kyle Akepanidtaworn" userId="4250081e-2882-4185-9e9c-d3298cc00d78" providerId="ADAL" clId="{E3BEE011-BDE0-4924-857F-571F4CEA325A}" dt="2021-03-17T03:14:27.475" v="1415" actId="1076"/>
          <ac:spMkLst>
            <pc:docMk/>
            <pc:sldMk cId="1550375621" sldId="2146846435"/>
            <ac:spMk id="28" creationId="{473E8817-6853-44A8-9903-8010C1AB8CE9}"/>
          </ac:spMkLst>
        </pc:spChg>
        <pc:cxnChg chg="del">
          <ac:chgData name="Kyle Akepanidtaworn" userId="4250081e-2882-4185-9e9c-d3298cc00d78" providerId="ADAL" clId="{E3BEE011-BDE0-4924-857F-571F4CEA325A}" dt="2021-03-17T03:13:20.762" v="1401" actId="478"/>
          <ac:cxnSpMkLst>
            <pc:docMk/>
            <pc:sldMk cId="1550375621" sldId="2146846435"/>
            <ac:cxnSpMk id="5" creationId="{6D33279C-6EDA-48FA-86C6-61AD5D14E59A}"/>
          </ac:cxnSpMkLst>
        </pc:cxnChg>
        <pc:cxnChg chg="add mod">
          <ac:chgData name="Kyle Akepanidtaworn" userId="4250081e-2882-4185-9e9c-d3298cc00d78" providerId="ADAL" clId="{E3BEE011-BDE0-4924-857F-571F4CEA325A}" dt="2021-03-17T03:14:07.155" v="1412" actId="14100"/>
          <ac:cxnSpMkLst>
            <pc:docMk/>
            <pc:sldMk cId="1550375621" sldId="2146846435"/>
            <ac:cxnSpMk id="13" creationId="{053CFC55-22D4-48D4-8AA0-413B945560F4}"/>
          </ac:cxnSpMkLst>
        </pc:cxnChg>
        <pc:cxnChg chg="add mod">
          <ac:chgData name="Kyle Akepanidtaworn" userId="4250081e-2882-4185-9e9c-d3298cc00d78" providerId="ADAL" clId="{E3BEE011-BDE0-4924-857F-571F4CEA325A}" dt="2021-03-17T03:14:27.475" v="1415" actId="1076"/>
          <ac:cxnSpMkLst>
            <pc:docMk/>
            <pc:sldMk cId="1550375621" sldId="2146846435"/>
            <ac:cxnSpMk id="18" creationId="{42E26363-F513-49C2-A6D3-1BD0DBA46967}"/>
          </ac:cxnSpMkLst>
        </pc:cxnChg>
        <pc:cxnChg chg="add mod">
          <ac:chgData name="Kyle Akepanidtaworn" userId="4250081e-2882-4185-9e9c-d3298cc00d78" providerId="ADAL" clId="{E3BEE011-BDE0-4924-857F-571F4CEA325A}" dt="2021-03-17T03:14:38.954" v="1419" actId="14100"/>
          <ac:cxnSpMkLst>
            <pc:docMk/>
            <pc:sldMk cId="1550375621" sldId="2146846435"/>
            <ac:cxnSpMk id="29" creationId="{93C002F4-2D57-42F4-AC51-69B353CBB654}"/>
          </ac:cxnSpMkLst>
        </pc:cxnChg>
      </pc:sldChg>
      <pc:sldChg chg="add del">
        <pc:chgData name="Kyle Akepanidtaworn" userId="4250081e-2882-4185-9e9c-d3298cc00d78" providerId="ADAL" clId="{E3BEE011-BDE0-4924-857F-571F4CEA325A}" dt="2021-03-17T03:13:23.418" v="1402" actId="47"/>
        <pc:sldMkLst>
          <pc:docMk/>
          <pc:sldMk cId="2095613538" sldId="2146846436"/>
        </pc:sldMkLst>
      </pc:sldChg>
      <pc:sldChg chg="modSp mod">
        <pc:chgData name="Kyle Akepanidtaworn" userId="4250081e-2882-4185-9e9c-d3298cc00d78" providerId="ADAL" clId="{E3BEE011-BDE0-4924-857F-571F4CEA325A}" dt="2021-03-22T06:17:02.612" v="2140" actId="20577"/>
        <pc:sldMkLst>
          <pc:docMk/>
          <pc:sldMk cId="2122923565" sldId="2146846436"/>
        </pc:sldMkLst>
        <pc:spChg chg="mod">
          <ac:chgData name="Kyle Akepanidtaworn" userId="4250081e-2882-4185-9e9c-d3298cc00d78" providerId="ADAL" clId="{E3BEE011-BDE0-4924-857F-571F4CEA325A}" dt="2021-03-22T06:16:17.806" v="2105" actId="20577"/>
          <ac:spMkLst>
            <pc:docMk/>
            <pc:sldMk cId="2122923565" sldId="2146846436"/>
            <ac:spMk id="64" creationId="{F11E6A76-802C-479D-B4B4-284D15E45CD8}"/>
          </ac:spMkLst>
        </pc:spChg>
        <pc:spChg chg="mod">
          <ac:chgData name="Kyle Akepanidtaworn" userId="4250081e-2882-4185-9e9c-d3298cc00d78" providerId="ADAL" clId="{E3BEE011-BDE0-4924-857F-571F4CEA325A}" dt="2021-03-22T06:17:02.612" v="2140" actId="20577"/>
          <ac:spMkLst>
            <pc:docMk/>
            <pc:sldMk cId="2122923565" sldId="2146846436"/>
            <ac:spMk id="84" creationId="{DD6D702D-6470-4AB2-A874-F5802831F28A}"/>
          </ac:spMkLst>
        </pc:spChg>
      </pc:sldChg>
      <pc:sldMasterChg chg="addSldLayout delSldLayout modSldLayout">
        <pc:chgData name="Kyle Akepanidtaworn" userId="4250081e-2882-4185-9e9c-d3298cc00d78" providerId="ADAL" clId="{E3BEE011-BDE0-4924-857F-571F4CEA325A}" dt="2021-03-11T07:18:43.346" v="284" actId="22"/>
        <pc:sldMasterMkLst>
          <pc:docMk/>
          <pc:sldMasterMk cId="3127192510" sldId="2147483660"/>
        </pc:sldMasterMkLst>
        <pc:sldLayoutChg chg="add del mod replId">
          <pc:chgData name="Kyle Akepanidtaworn" userId="4250081e-2882-4185-9e9c-d3298cc00d78" providerId="ADAL" clId="{E3BEE011-BDE0-4924-857F-571F4CEA325A}" dt="2021-03-11T07:18:43.346" v="284" actId="22"/>
          <pc:sldLayoutMkLst>
            <pc:docMk/>
            <pc:sldMasterMk cId="3127192510" sldId="2147483660"/>
            <pc:sldLayoutMk cId="369376739" sldId="2147483773"/>
          </pc:sldLayoutMkLst>
        </pc:sldLayoutChg>
        <pc:sldLayoutChg chg="add del mod replId">
          <pc:chgData name="Kyle Akepanidtaworn" userId="4250081e-2882-4185-9e9c-d3298cc00d78" providerId="ADAL" clId="{E3BEE011-BDE0-4924-857F-571F4CEA325A}" dt="2021-03-11T07:18:39.297" v="282" actId="22"/>
          <pc:sldLayoutMkLst>
            <pc:docMk/>
            <pc:sldMasterMk cId="3127192510" sldId="2147483660"/>
            <pc:sldLayoutMk cId="3222139350" sldId="2147483773"/>
          </pc:sldLayoutMkLst>
        </pc:sldLayoutChg>
      </pc:sldMasterChg>
      <pc:sldMasterChg chg="addSldLayout modSldLayout">
        <pc:chgData name="Kyle Akepanidtaworn" userId="4250081e-2882-4185-9e9c-d3298cc00d78" providerId="ADAL" clId="{E3BEE011-BDE0-4924-857F-571F4CEA325A}" dt="2021-03-25T07:18:13.413" v="2328" actId="22"/>
        <pc:sldMasterMkLst>
          <pc:docMk/>
          <pc:sldMasterMk cId="3076688652" sldId="2147483735"/>
        </pc:sldMasterMkLst>
        <pc:sldLayoutChg chg="add mod replId">
          <pc:chgData name="Kyle Akepanidtaworn" userId="4250081e-2882-4185-9e9c-d3298cc00d78" providerId="ADAL" clId="{E3BEE011-BDE0-4924-857F-571F4CEA325A}" dt="2021-03-25T07:18:13.413" v="2328" actId="22"/>
          <pc:sldLayoutMkLst>
            <pc:docMk/>
            <pc:sldMasterMk cId="3076688652" sldId="2147483735"/>
            <pc:sldLayoutMk cId="3773235477" sldId="2147483798"/>
          </pc:sldLayoutMkLst>
        </pc:sldLayoutChg>
      </pc:sldMasterChg>
      <pc:sldMasterChg chg="delSldLayout">
        <pc:chgData name="Kyle Akepanidtaworn" userId="4250081e-2882-4185-9e9c-d3298cc00d78" providerId="ADAL" clId="{E3BEE011-BDE0-4924-857F-571F4CEA325A}" dt="2021-03-11T07:47:48.059" v="565" actId="47"/>
        <pc:sldMasterMkLst>
          <pc:docMk/>
          <pc:sldMasterMk cId="1848084620" sldId="2147483773"/>
        </pc:sldMasterMkLst>
        <pc:sldLayoutChg chg="del">
          <pc:chgData name="Kyle Akepanidtaworn" userId="4250081e-2882-4185-9e9c-d3298cc00d78" providerId="ADAL" clId="{E3BEE011-BDE0-4924-857F-571F4CEA325A}" dt="2021-03-11T07:47:48.059" v="565" actId="47"/>
          <pc:sldLayoutMkLst>
            <pc:docMk/>
            <pc:sldMasterMk cId="1848084620" sldId="2147483773"/>
            <pc:sldLayoutMk cId="3520467838" sldId="2147483778"/>
          </pc:sldLayoutMkLst>
        </pc:sldLayoutChg>
      </pc:sldMasterChg>
    </pc:docChg>
  </pc:docChgLst>
  <pc:docChgLst>
    <pc:chgData name="Gananda Hayardisi" userId="b6a06241-50bc-4d93-9e92-ced1ab874af2" providerId="ADAL" clId="{D7F2556A-B817-4CA7-8AB2-6B290AC097D8}"/>
    <pc:docChg chg="modSld">
      <pc:chgData name="Gananda Hayardisi" userId="b6a06241-50bc-4d93-9e92-ced1ab874af2" providerId="ADAL" clId="{D7F2556A-B817-4CA7-8AB2-6B290AC097D8}" dt="2021-03-17T07:01:53.762" v="73" actId="20577"/>
      <pc:docMkLst>
        <pc:docMk/>
      </pc:docMkLst>
      <pc:sldChg chg="modSp mod">
        <pc:chgData name="Gananda Hayardisi" userId="b6a06241-50bc-4d93-9e92-ced1ab874af2" providerId="ADAL" clId="{D7F2556A-B817-4CA7-8AB2-6B290AC097D8}" dt="2021-03-17T07:01:53.762" v="73" actId="20577"/>
        <pc:sldMkLst>
          <pc:docMk/>
          <pc:sldMk cId="2603264723" sldId="2146846416"/>
        </pc:sldMkLst>
        <pc:spChg chg="mod">
          <ac:chgData name="Gananda Hayardisi" userId="b6a06241-50bc-4d93-9e92-ced1ab874af2" providerId="ADAL" clId="{D7F2556A-B817-4CA7-8AB2-6B290AC097D8}" dt="2021-03-17T07:01:53.762" v="73" actId="20577"/>
          <ac:spMkLst>
            <pc:docMk/>
            <pc:sldMk cId="2603264723" sldId="2146846416"/>
            <ac:spMk id="6" creationId="{ACEF8A86-BBF8-471B-AD33-0EDC5D770D00}"/>
          </ac:spMkLst>
        </pc:spChg>
      </pc:sldChg>
      <pc:sldChg chg="modSp mod">
        <pc:chgData name="Gananda Hayardisi" userId="b6a06241-50bc-4d93-9e92-ced1ab874af2" providerId="ADAL" clId="{D7F2556A-B817-4CA7-8AB2-6B290AC097D8}" dt="2021-03-17T06:52:01.631" v="11"/>
        <pc:sldMkLst>
          <pc:docMk/>
          <pc:sldMk cId="1317679432" sldId="2146846417"/>
        </pc:sldMkLst>
        <pc:spChg chg="mod">
          <ac:chgData name="Gananda Hayardisi" userId="b6a06241-50bc-4d93-9e92-ced1ab874af2" providerId="ADAL" clId="{D7F2556A-B817-4CA7-8AB2-6B290AC097D8}" dt="2021-03-17T06:52:01.631" v="11"/>
          <ac:spMkLst>
            <pc:docMk/>
            <pc:sldMk cId="1317679432" sldId="2146846417"/>
            <ac:spMk id="4" creationId="{76A36981-B928-4C0C-85A0-37683573C65A}"/>
          </ac:spMkLst>
        </pc:spChg>
      </pc:sldChg>
      <pc:sldChg chg="modSp mod">
        <pc:chgData name="Gananda Hayardisi" userId="b6a06241-50bc-4d93-9e92-ced1ab874af2" providerId="ADAL" clId="{D7F2556A-B817-4CA7-8AB2-6B290AC097D8}" dt="2021-03-17T06:51:01.162" v="7" actId="20577"/>
        <pc:sldMkLst>
          <pc:docMk/>
          <pc:sldMk cId="1381610846" sldId="2146846418"/>
        </pc:sldMkLst>
        <pc:spChg chg="mod">
          <ac:chgData name="Gananda Hayardisi" userId="b6a06241-50bc-4d93-9e92-ced1ab874af2" providerId="ADAL" clId="{D7F2556A-B817-4CA7-8AB2-6B290AC097D8}" dt="2021-03-17T06:51:01.162" v="7" actId="20577"/>
          <ac:spMkLst>
            <pc:docMk/>
            <pc:sldMk cId="1381610846" sldId="2146846418"/>
            <ac:spMk id="4" creationId="{F1A00794-9E11-49A9-97EC-61DBBE0EC2C0}"/>
          </ac:spMkLst>
        </pc:spChg>
      </pc:sldChg>
      <pc:sldChg chg="modSp mod">
        <pc:chgData name="Gananda Hayardisi" userId="b6a06241-50bc-4d93-9e92-ced1ab874af2" providerId="ADAL" clId="{D7F2556A-B817-4CA7-8AB2-6B290AC097D8}" dt="2021-03-17T06:50:44.389" v="3" actId="20577"/>
        <pc:sldMkLst>
          <pc:docMk/>
          <pc:sldMk cId="2495288789" sldId="2146846419"/>
        </pc:sldMkLst>
        <pc:spChg chg="mod">
          <ac:chgData name="Gananda Hayardisi" userId="b6a06241-50bc-4d93-9e92-ced1ab874af2" providerId="ADAL" clId="{D7F2556A-B817-4CA7-8AB2-6B290AC097D8}" dt="2021-03-17T06:50:44.389" v="3" actId="20577"/>
          <ac:spMkLst>
            <pc:docMk/>
            <pc:sldMk cId="2495288789" sldId="2146846419"/>
            <ac:spMk id="6" creationId="{3D8384C1-5DD0-4F35-B554-A7C273CFBB05}"/>
          </ac:spMkLst>
        </pc:spChg>
      </pc:sldChg>
      <pc:sldChg chg="modSp mod">
        <pc:chgData name="Gananda Hayardisi" userId="b6a06241-50bc-4d93-9e92-ced1ab874af2" providerId="ADAL" clId="{D7F2556A-B817-4CA7-8AB2-6B290AC097D8}" dt="2021-03-17T06:54:25.091" v="43" actId="20577"/>
        <pc:sldMkLst>
          <pc:docMk/>
          <pc:sldMk cId="2122923565" sldId="2146846436"/>
        </pc:sldMkLst>
        <pc:spChg chg="mod">
          <ac:chgData name="Gananda Hayardisi" userId="b6a06241-50bc-4d93-9e92-ced1ab874af2" providerId="ADAL" clId="{D7F2556A-B817-4CA7-8AB2-6B290AC097D8}" dt="2021-03-17T06:54:25.091" v="43" actId="20577"/>
          <ac:spMkLst>
            <pc:docMk/>
            <pc:sldMk cId="2122923565" sldId="2146846436"/>
            <ac:spMk id="91" creationId="{DAA6A19C-FF70-4F38-92EB-26EDF775ADA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7BF5C7-D18F-472A-99FC-5EA28DDAB1FF}" type="datetimeFigureOut">
              <a:rPr lang="en-US" smtClean="0"/>
              <a:t>3/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E8F51B-70F3-4C17-8355-14C5CAC668F0}" type="slidenum">
              <a:rPr lang="en-US" smtClean="0"/>
              <a:t>‹#›</a:t>
            </a:fld>
            <a:endParaRPr lang="en-US"/>
          </a:p>
        </p:txBody>
      </p:sp>
    </p:spTree>
    <p:extLst>
      <p:ext uri="{BB962C8B-B14F-4D97-AF65-F5344CB8AC3E}">
        <p14:creationId xmlns:p14="http://schemas.microsoft.com/office/powerpoint/2010/main" val="37228179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2603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1280160" rtl="0" eaLnBrk="1" fontAlgn="auto" latinLnBrk="0" hangingPunct="1">
              <a:lnSpc>
                <a:spcPct val="100000"/>
              </a:lnSpc>
              <a:spcBef>
                <a:spcPts val="0"/>
              </a:spcBef>
              <a:spcAft>
                <a:spcPts val="0"/>
              </a:spcAft>
              <a:buClrTx/>
              <a:buSzTx/>
              <a:buFontTx/>
              <a:buNone/>
              <a:tabLst/>
              <a:defRPr/>
            </a:pPr>
            <a:fld id="{545B804D-199F-4520-A4BD-C514A1EE1B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8016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872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3172" rtl="0" eaLnBrk="1" fontAlgn="auto" latinLnBrk="0" hangingPunct="1">
              <a:lnSpc>
                <a:spcPct val="100000"/>
              </a:lnSpc>
              <a:spcBef>
                <a:spcPts val="0"/>
              </a:spcBef>
              <a:spcAft>
                <a:spcPts val="0"/>
              </a:spcAft>
              <a:buClrTx/>
              <a:buSzTx/>
              <a:buFontTx/>
              <a:buNone/>
              <a:tabLst/>
              <a:defRPr/>
            </a:pPr>
            <a:fld id="{67E65352-95B5-4433-84FB-24BF035F4B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17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7490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171717"/>
                </a:solidFill>
                <a:latin typeface="Segoe UI" panose="020B0502040204020203" pitchFamily="34" charset="0"/>
              </a:rPr>
              <a:t>Establishing a modern data estate is a foundational step toward digital transformation. A modern data estate enables timely insights and decision making across all your data, and sets the foundation for AI. A data estate is all of the data an organization owns. When you migrate this data to the cloud or modernize your environment on-premises you can gain important insights to fuel innovation.</a:t>
            </a:r>
            <a:endParaRPr lang="en-US" sz="900"/>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0509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171717"/>
                </a:solidFill>
                <a:latin typeface="Segoe UI" panose="020B0502040204020203" pitchFamily="34" charset="0"/>
              </a:rPr>
              <a:t>Establishing a modern data estate is a foundational step toward digital transformation. A modern data estate enables timely insights and decision making across all your data, and sets the foundation for AI. A data estate is all of the data an organization owns. When you migrate this data to the cloud or modernize your environment on-premises you can gain important insights to fuel innovation.</a:t>
            </a:r>
            <a:endParaRPr lang="en-US" sz="900"/>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0509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6206E34-2AFF-4543-9429-368FDE16B24E}" type="slidenum">
              <a:rPr lang="en-US" smtClean="0"/>
              <a:t>19</a:t>
            </a:fld>
            <a:endParaRPr lang="en-US"/>
          </a:p>
        </p:txBody>
      </p:sp>
    </p:spTree>
    <p:extLst>
      <p:ext uri="{BB962C8B-B14F-4D97-AF65-F5344CB8AC3E}">
        <p14:creationId xmlns:p14="http://schemas.microsoft.com/office/powerpoint/2010/main" val="29652978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5.xml"/><Relationship Id="rId4" Type="http://schemas.openxmlformats.org/officeDocument/2006/relationships/image" Target="../media/image13.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tif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tif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 Id="rId4" Type="http://schemas.openxmlformats.org/officeDocument/2006/relationships/image" Target="../media/image36.jpe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 Id="rId4" Type="http://schemas.openxmlformats.org/officeDocument/2006/relationships/image" Target="../media/image36.jpe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4045524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11018505"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648401"/>
            <a:ext cx="11018505" cy="362123"/>
          </a:xfrm>
          <a:noFill/>
        </p:spPr>
        <p:txBody>
          <a:bodyPr wrap="square" lIns="0" tIns="0" rIns="0" bIns="0">
            <a:spAutoFit/>
          </a:bodyPr>
          <a:lstStyle>
            <a:lvl1pPr marL="0" indent="0">
              <a:spcBef>
                <a:spcPts val="0"/>
              </a:spcBef>
              <a:spcAft>
                <a:spcPts val="0"/>
              </a:spcAft>
              <a:buFont typeface="Arial" panose="020B0604020202020204" pitchFamily="34" charset="0"/>
              <a:buNone/>
              <a:defRPr sz="2353"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31245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chemeClr val="bg1"/>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883659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rotWithShape="1">
          <a:blip r:embed="rId2"/>
          <a:srcRect r="10789" b="10795"/>
          <a:stretch/>
        </p:blipFill>
        <p:spPr>
          <a:xfrm>
            <a:off x="0" y="0"/>
            <a:ext cx="12192000" cy="6858000"/>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6411126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1623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278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3964915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28682" y="3204862"/>
            <a:ext cx="2102988" cy="448276"/>
          </a:xfrm>
          <a:prstGeom prst="rect">
            <a:avLst/>
          </a:prstGeom>
        </p:spPr>
      </p:pic>
    </p:spTree>
    <p:extLst>
      <p:ext uri="{BB962C8B-B14F-4D97-AF65-F5344CB8AC3E}">
        <p14:creationId xmlns:p14="http://schemas.microsoft.com/office/powerpoint/2010/main" val="2892271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ABF6691E-F62E-4072-BD0A-9639B4F2CA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9289" y="3204862"/>
            <a:ext cx="2101774" cy="448276"/>
          </a:xfrm>
          <a:prstGeom prst="rect">
            <a:avLst/>
          </a:prstGeom>
        </p:spPr>
      </p:pic>
    </p:spTree>
    <p:extLst>
      <p:ext uri="{BB962C8B-B14F-4D97-AF65-F5344CB8AC3E}">
        <p14:creationId xmlns:p14="http://schemas.microsoft.com/office/powerpoint/2010/main" val="4058983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887516-5404-4D65-815F-4D6F8F24CA8B}"/>
              </a:ext>
            </a:extLst>
          </p:cNvPr>
          <p:cNvSpPr/>
          <p:nvPr userDrawn="1"/>
        </p:nvSpPr>
        <p:spPr>
          <a:xfrm flipH="1">
            <a:off x="0" y="0"/>
            <a:ext cx="6096000" cy="6858000"/>
          </a:xfrm>
          <a:prstGeom prst="rect">
            <a:avLst/>
          </a:prstGeom>
          <a:solidFill>
            <a:schemeClr val="tx2"/>
          </a:solidFill>
          <a:ln w="12700" cap="flat" cmpd="sng" algn="ctr">
            <a:noFill/>
            <a:prstDash val="solid"/>
            <a:miter lim="800000"/>
          </a:ln>
          <a:effectLst/>
        </p:spPr>
        <p:txBody>
          <a:bodyPr rtlCol="0" anchor="ctr"/>
          <a:lstStyle/>
          <a:p>
            <a:pPr algn="ctr" defTabSz="914225">
              <a:defRPr/>
            </a:pPr>
            <a:endParaRPr lang="en-US" sz="1800" kern="0">
              <a:solidFill>
                <a:prstClr val="white"/>
              </a:solidFill>
              <a:latin typeface="Segoe UI"/>
            </a:endParaRPr>
          </a:p>
        </p:txBody>
      </p:sp>
      <p:sp>
        <p:nvSpPr>
          <p:cNvPr id="7" name="Text Placeholder 6">
            <a:extLst>
              <a:ext uri="{FF2B5EF4-FFF2-40B4-BE49-F238E27FC236}">
                <a16:creationId xmlns:a16="http://schemas.microsoft.com/office/drawing/2014/main" id="{A80E1E1A-D76F-4736-84AB-EA6B84743634}"/>
              </a:ext>
            </a:extLst>
          </p:cNvPr>
          <p:cNvSpPr>
            <a:spLocks noGrp="1"/>
          </p:cNvSpPr>
          <p:nvPr>
            <p:ph type="body" sz="quarter" idx="10"/>
          </p:nvPr>
        </p:nvSpPr>
        <p:spPr>
          <a:xfrm>
            <a:off x="6365241" y="1302136"/>
            <a:ext cx="5294285" cy="422477"/>
          </a:xfrm>
        </p:spPr>
        <p:txBody>
          <a:bodyPr/>
          <a:lstStyle>
            <a:lvl1pPr marL="0" marR="0" indent="0" algn="l" defTabSz="914225" rtl="0" eaLnBrk="1" fontAlgn="auto" latinLnBrk="0" hangingPunct="1">
              <a:lnSpc>
                <a:spcPct val="100000"/>
              </a:lnSpc>
              <a:spcBef>
                <a:spcPts val="1765"/>
              </a:spcBef>
              <a:spcAft>
                <a:spcPts val="2941"/>
              </a:spcAft>
              <a:buClrTx/>
              <a:buSzPct val="90000"/>
              <a:buFont typeface="Arial" pitchFamily="34" charset="0"/>
              <a:buNone/>
              <a:tabLst/>
              <a:defRPr lang="en-US" sz="1568" kern="1200" spc="0" baseline="0" dirty="0" smtClean="0">
                <a:solidFill>
                  <a:schemeClr val="tx1"/>
                </a:solidFill>
                <a:latin typeface="Segoe UI Semilight" charset="0"/>
                <a:ea typeface="Segoe UI Semilight" charset="0"/>
                <a:cs typeface="Segoe UI Semilight" charset="0"/>
              </a:defRPr>
            </a:lvl1pPr>
          </a:lstStyle>
          <a:p>
            <a:pPr lvl="0"/>
            <a:r>
              <a:rPr lang="en-US"/>
              <a:t>Edit Master text styles</a:t>
            </a:r>
          </a:p>
        </p:txBody>
      </p:sp>
    </p:spTree>
    <p:extLst>
      <p:ext uri="{BB962C8B-B14F-4D97-AF65-F5344CB8AC3E}">
        <p14:creationId xmlns:p14="http://schemas.microsoft.com/office/powerpoint/2010/main" val="184556604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303835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6CF90-E55A-42AB-9DF2-FD5805473D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A1886623-D289-48C3-868A-CC5E41E770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67C60C11-20CA-4940-8F32-87BB27DB0593}"/>
              </a:ext>
            </a:extLst>
          </p:cNvPr>
          <p:cNvSpPr>
            <a:spLocks noGrp="1"/>
          </p:cNvSpPr>
          <p:nvPr>
            <p:ph type="dt" sz="half" idx="10"/>
          </p:nvPr>
        </p:nvSpPr>
        <p:spPr/>
        <p:txBody>
          <a:bodyPr/>
          <a:lstStyle/>
          <a:p>
            <a:fld id="{F237F00D-FB51-4910-90DB-C91914C12DCA}" type="datetimeFigureOut">
              <a:rPr lang="en-AU" smtClean="0"/>
              <a:t>25/03/2021</a:t>
            </a:fld>
            <a:endParaRPr lang="en-AU"/>
          </a:p>
        </p:txBody>
      </p:sp>
      <p:sp>
        <p:nvSpPr>
          <p:cNvPr id="5" name="Footer Placeholder 4">
            <a:extLst>
              <a:ext uri="{FF2B5EF4-FFF2-40B4-BE49-F238E27FC236}">
                <a16:creationId xmlns:a16="http://schemas.microsoft.com/office/drawing/2014/main" id="{5AF62F32-8FB8-496C-8FAC-436A7260A2B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B42D7B1-B222-4797-A6AB-420479D74E0F}"/>
              </a:ext>
            </a:extLst>
          </p:cNvPr>
          <p:cNvSpPr>
            <a:spLocks noGrp="1"/>
          </p:cNvSpPr>
          <p:nvPr>
            <p:ph type="sldNum" sz="quarter" idx="12"/>
          </p:nvPr>
        </p:nvSpPr>
        <p:spPr/>
        <p:txBody>
          <a:bodyPr/>
          <a:lstStyle/>
          <a:p>
            <a:fld id="{A30E882A-D425-4F5A-8100-543623769FCE}" type="slidenum">
              <a:rPr lang="en-AU" smtClean="0"/>
              <a:t>‹#›</a:t>
            </a:fld>
            <a:endParaRPr lang="en-AU"/>
          </a:p>
        </p:txBody>
      </p:sp>
    </p:spTree>
    <p:extLst>
      <p:ext uri="{BB962C8B-B14F-4D97-AF65-F5344CB8AC3E}">
        <p14:creationId xmlns:p14="http://schemas.microsoft.com/office/powerpoint/2010/main" val="886653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11018505"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1"/>
                </a:solidFill>
                <a:effectLst/>
                <a:latin typeface="+mj-lt"/>
                <a:ea typeface="+mn-ea"/>
                <a:cs typeface="Segoe UI" pitchFamily="34" charset="0"/>
              </a:defRPr>
            </a:lvl1pPr>
          </a:lstStyle>
          <a:p>
            <a:r>
              <a:rPr lang="en-US"/>
              <a:t>Thank you</a:t>
            </a:r>
          </a:p>
        </p:txBody>
      </p:sp>
      <p:sp>
        <p:nvSpPr>
          <p:cNvPr id="5" name="Text Placeholder 4"/>
          <p:cNvSpPr>
            <a:spLocks noGrp="1"/>
          </p:cNvSpPr>
          <p:nvPr>
            <p:ph type="body" sz="quarter" idx="12" hasCustomPrompt="1"/>
          </p:nvPr>
        </p:nvSpPr>
        <p:spPr>
          <a:xfrm>
            <a:off x="585216" y="3648401"/>
            <a:ext cx="11018505" cy="362123"/>
          </a:xfrm>
          <a:noFill/>
        </p:spPr>
        <p:txBody>
          <a:bodyPr wrap="square" lIns="0" tIns="0" rIns="0" bIns="0">
            <a:spAutoFit/>
          </a:bodyPr>
          <a:lstStyle>
            <a:lvl1pPr marL="0" indent="0">
              <a:spcBef>
                <a:spcPts val="0"/>
              </a:spcBef>
              <a:spcAft>
                <a:spcPts val="0"/>
              </a:spcAft>
              <a:buFont typeface="Arial" panose="020B0604020202020204" pitchFamily="34" charset="0"/>
              <a:buNone/>
              <a:defRPr sz="2353"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F3498591-CCDC-4673-A3FA-3629F929223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30502" b="-15410"/>
          <a:stretch/>
        </p:blipFill>
        <p:spPr>
          <a:xfrm>
            <a:off x="585215" y="439310"/>
            <a:ext cx="928268" cy="219601"/>
          </a:xfrm>
          <a:prstGeom prst="rect">
            <a:avLst/>
          </a:prstGeom>
        </p:spPr>
      </p:pic>
      <p:sp>
        <p:nvSpPr>
          <p:cNvPr id="6" name="Text Box 3">
            <a:extLst>
              <a:ext uri="{FF2B5EF4-FFF2-40B4-BE49-F238E27FC236}">
                <a16:creationId xmlns:a16="http://schemas.microsoft.com/office/drawing/2014/main" id="{F8D8735A-CD49-4F46-8D87-2B76839499B0}"/>
              </a:ext>
            </a:extLst>
          </p:cNvPr>
          <p:cNvSpPr txBox="1">
            <a:spLocks noChangeArrowheads="1"/>
          </p:cNvSpPr>
          <p:nvPr userDrawn="1"/>
        </p:nvSpPr>
        <p:spPr bwMode="blackWhite">
          <a:xfrm>
            <a:off x="585215"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241205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losing logo slide 3">
    <p:bg>
      <p:bgPr>
        <a:solidFill>
          <a:schemeClr val="bg1"/>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773235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4206737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778902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2824160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73335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8867320"/>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4449234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617978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4184697385"/>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33629396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7134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71513934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2046714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1116674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26741802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42600910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0437386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603283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621249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16484215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8519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10952104"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529"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7802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6600635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421437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928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losing dark gray">
    <p:bg>
      <p:bgRef idx="1001">
        <a:schemeClr val="bg1"/>
      </p:bgRef>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tx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688494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5842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2275191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4" y="457200"/>
            <a:ext cx="11018520" cy="553998"/>
          </a:xfrm>
        </p:spPr>
        <p:txBody>
          <a:bodyPr/>
          <a:lstStyle/>
          <a:p>
            <a:r>
              <a:rPr lang="en-US"/>
              <a:t>Click to edit Master title style</a:t>
            </a:r>
          </a:p>
        </p:txBody>
      </p:sp>
    </p:spTree>
    <p:extLst>
      <p:ext uri="{BB962C8B-B14F-4D97-AF65-F5344CB8AC3E}">
        <p14:creationId xmlns:p14="http://schemas.microsoft.com/office/powerpoint/2010/main" val="118588594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8528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161568659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196944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529"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1946"/>
          </a:xfrm>
          <a:noFill/>
        </p:spPr>
        <p:txBody>
          <a:bodyPr wrap="square" lIns="0" tIns="0" rIns="0" bIns="0">
            <a:spAutoFit/>
          </a:bodyPr>
          <a:lstStyle>
            <a:lvl1pPr marL="0" indent="0">
              <a:spcBef>
                <a:spcPts val="0"/>
              </a:spcBef>
              <a:buNone/>
              <a:defRPr sz="2157"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p:nvPicPr>
        <p:blipFill>
          <a:blip r:embed="rId2"/>
          <a:stretch>
            <a:fillRect/>
          </a:stretch>
        </p:blipFill>
        <p:spPr bwMode="black">
          <a:xfrm>
            <a:off x="584201" y="585789"/>
            <a:ext cx="1366245" cy="292608"/>
          </a:xfrm>
          <a:prstGeom prst="rect">
            <a:avLst/>
          </a:prstGeom>
        </p:spPr>
      </p:pic>
      <p:sp>
        <p:nvSpPr>
          <p:cNvPr id="2" name="TextBox 1">
            <a:extLst>
              <a:ext uri="{FF2B5EF4-FFF2-40B4-BE49-F238E27FC236}">
                <a16:creationId xmlns:a16="http://schemas.microsoft.com/office/drawing/2014/main" id="{A323B808-37FA-FD49-9D45-A483A094E482}"/>
              </a:ext>
            </a:extLst>
          </p:cNvPr>
          <p:cNvSpPr txBox="1"/>
          <p:nvPr userDrawn="1"/>
        </p:nvSpPr>
        <p:spPr>
          <a:xfrm>
            <a:off x="1640458" y="5854485"/>
            <a:ext cx="64" cy="301770"/>
          </a:xfrm>
          <a:prstGeom prst="rect">
            <a:avLst/>
          </a:prstGeom>
          <a:noFill/>
        </p:spPr>
        <p:txBody>
          <a:bodyPr wrap="none" lIns="0" tIns="0" rIns="0" bIns="0" rtlCol="0">
            <a:spAutoFit/>
          </a:bodyPr>
          <a:lstStyle/>
          <a:p>
            <a:pPr algn="l"/>
            <a:endParaRPr lang="en-US" sz="1961"/>
          </a:p>
        </p:txBody>
      </p:sp>
    </p:spTree>
    <p:extLst>
      <p:ext uri="{BB962C8B-B14F-4D97-AF65-F5344CB8AC3E}">
        <p14:creationId xmlns:p14="http://schemas.microsoft.com/office/powerpoint/2010/main" val="14256747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63130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0685838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527325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70925862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769282"/>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184657974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270250115"/>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9477657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6452255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945164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41310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5102089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5876048"/>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3569423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266048486"/>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424516551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5542722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8047165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64604490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9801045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2921111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6026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703778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blue">
    <p:bg>
      <p:bgRef idx="1001">
        <a:schemeClr val="bg2"/>
      </p:bgRef>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4127443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54440618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83806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360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3159997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513407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black">
    <p:bg>
      <p:bgRef idx="1001">
        <a:schemeClr val="bg1"/>
      </p:bgRef>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ABF6691E-F62E-4072-BD0A-9639B4F2CA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9289" y="3204862"/>
            <a:ext cx="2101774" cy="448276"/>
          </a:xfrm>
          <a:prstGeom prst="rect">
            <a:avLst/>
          </a:prstGeom>
        </p:spPr>
      </p:pic>
    </p:spTree>
    <p:extLst>
      <p:ext uri="{BB962C8B-B14F-4D97-AF65-F5344CB8AC3E}">
        <p14:creationId xmlns:p14="http://schemas.microsoft.com/office/powerpoint/2010/main" val="577371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810654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056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3735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856140165"/>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Title with photo and tile">
    <p:spTree>
      <p:nvGrpSpPr>
        <p:cNvPr id="1" name=""/>
        <p:cNvGrpSpPr/>
        <p:nvPr/>
      </p:nvGrpSpPr>
      <p:grpSpPr>
        <a:xfrm>
          <a:off x="0" y="0"/>
          <a:ext cx="0" cy="0"/>
          <a:chOff x="0" y="0"/>
          <a:chExt cx="0" cy="0"/>
        </a:xfrm>
      </p:grpSpPr>
      <p:pic>
        <p:nvPicPr>
          <p:cNvPr id="7" name="Picture 6" descr="A person sitting at a table using a computer&#10;&#10;Description generated with high confidence">
            <a:extLst>
              <a:ext uri="{FF2B5EF4-FFF2-40B4-BE49-F238E27FC236}">
                <a16:creationId xmlns:a16="http://schemas.microsoft.com/office/drawing/2014/main" id="{AC14534E-46CD-4303-B862-80358F1BA8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 y="0"/>
            <a:ext cx="12192000" cy="6858000"/>
          </a:xfrm>
          <a:prstGeom prst="rect">
            <a:avLst/>
          </a:prstGeom>
        </p:spPr>
      </p:pic>
      <p:sp>
        <p:nvSpPr>
          <p:cNvPr id="4" name="Rectangle 3"/>
          <p:cNvSpPr/>
          <p:nvPr/>
        </p:nvSpPr>
        <p:spPr bwMode="auto">
          <a:xfrm>
            <a:off x="-2" y="-5304"/>
            <a:ext cx="4526282" cy="6863304"/>
          </a:xfrm>
          <a:prstGeom prst="rect">
            <a:avLst/>
          </a:prstGeom>
          <a:gradFill>
            <a:gsLst>
              <a:gs pos="0">
                <a:schemeClr val="bg1">
                  <a:alpha val="71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68"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6293" y="256398"/>
            <a:ext cx="1829371" cy="673018"/>
          </a:xfrm>
          <a:prstGeom prst="rect">
            <a:avLst/>
          </a:prstGeom>
        </p:spPr>
      </p:pic>
      <p:sp>
        <p:nvSpPr>
          <p:cNvPr id="2" name="Rectangle 1"/>
          <p:cNvSpPr/>
          <p:nvPr/>
        </p:nvSpPr>
        <p:spPr bwMode="auto">
          <a:xfrm>
            <a:off x="267682" y="2084172"/>
            <a:ext cx="7878029"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90"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3529" spc="-74"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8"/>
            <a:ext cx="6276530" cy="547458"/>
          </a:xfrm>
        </p:spPr>
        <p:txBody>
          <a:bodyPr wrap="square" lIns="164592" tIns="109728" rIns="164592" bIns="109728">
            <a:spAutoFit/>
          </a:bodyPr>
          <a:lstStyle>
            <a:lvl1pPr marL="0" indent="0">
              <a:spcBef>
                <a:spcPts val="0"/>
              </a:spcBef>
              <a:buNone/>
              <a:defRPr sz="2353">
                <a:gradFill>
                  <a:gsLst>
                    <a:gs pos="1307">
                      <a:srgbClr val="353535"/>
                    </a:gs>
                    <a:gs pos="30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128709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Only_blue">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107572" y="80690"/>
            <a:ext cx="1317744" cy="1237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31" tIns="67231" rIns="67231" bIns="67231" numCol="1" spcCol="0" rtlCol="0" fromWordArt="0" anchor="b" anchorCtr="0" forceAA="0" compatLnSpc="1">
            <a:prstTxWarp prst="textNoShape">
              <a:avLst/>
            </a:prstTxWarp>
            <a:noAutofit/>
          </a:bodyPr>
          <a:lstStyle/>
          <a:p>
            <a:pPr algn="r"/>
            <a:endParaRPr lang="en-US" sz="882"/>
          </a:p>
        </p:txBody>
      </p:sp>
      <p:sp>
        <p:nvSpPr>
          <p:cNvPr id="3" name="Title 2"/>
          <p:cNvSpPr>
            <a:spLocks noGrp="1"/>
          </p:cNvSpPr>
          <p:nvPr>
            <p:ph type="title"/>
          </p:nvPr>
        </p:nvSpPr>
        <p:spPr>
          <a:xfrm>
            <a:off x="268928" y="286381"/>
            <a:ext cx="11653523" cy="927940"/>
          </a:xfrm>
          <a:prstGeom prst="rect">
            <a:avLst/>
          </a:prstGeom>
        </p:spPr>
        <p:txBody>
          <a:bodyPr lIns="146304" tIns="91440" rIns="146304" bIns="91440"/>
          <a:lstStyle>
            <a:lvl1pPr algn="l">
              <a:defRPr sz="3822">
                <a:solidFill>
                  <a:schemeClr val="tx2"/>
                </a:solidFill>
                <a:latin typeface="+mj-lt"/>
              </a:defRPr>
            </a:lvl1pPr>
          </a:lstStyle>
          <a:p>
            <a:r>
              <a:rPr lang="en-US"/>
              <a:t>Click to edit Master title style</a:t>
            </a:r>
          </a:p>
        </p:txBody>
      </p:sp>
    </p:spTree>
    <p:extLst>
      <p:ext uri="{BB962C8B-B14F-4D97-AF65-F5344CB8AC3E}">
        <p14:creationId xmlns:p14="http://schemas.microsoft.com/office/powerpoint/2010/main" val="36031336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5925309"/>
      </p:ext>
    </p:extLst>
  </p:cSld>
  <p:clrMapOvr>
    <a:masterClrMapping/>
  </p:clrMapOvr>
  <p:transition>
    <p:fade/>
  </p:transition>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2" y="3145042"/>
            <a:ext cx="3288506" cy="704445"/>
          </a:xfrm>
          <a:prstGeom prst="rect">
            <a:avLst/>
          </a:prstGeom>
        </p:spPr>
      </p:pic>
      <p:sp>
        <p:nvSpPr>
          <p:cNvPr id="4" name="TextBox 3"/>
          <p:cNvSpPr txBox="1">
            <a:spLocks noChangeArrowheads="1"/>
          </p:cNvSpPr>
          <p:nvPr/>
        </p:nvSpPr>
        <p:spPr bwMode="auto">
          <a:xfrm>
            <a:off x="266128" y="5819469"/>
            <a:ext cx="11659748" cy="8886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34444" tIns="107556" rIns="134444" bIns="107556"/>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685012" fontAlgn="base">
              <a:lnSpc>
                <a:spcPts val="881"/>
              </a:lnSpc>
              <a:spcBef>
                <a:spcPct val="0"/>
              </a:spcBef>
              <a:spcAft>
                <a:spcPct val="0"/>
              </a:spcAft>
            </a:pPr>
            <a:r>
              <a:rPr lang="en-US" sz="735">
                <a:solidFill>
                  <a:srgbClr val="FFFFFF"/>
                </a:solidFill>
              </a:rPr>
              <a:t>© 2018 Microsoft Corporation. All rights reserved. Microsoft, Windows, and other product names are or may be registered trademarks and/or trademarks in the U.S. and/or other countries.</a:t>
            </a:r>
          </a:p>
          <a:p>
            <a:pPr defTabSz="685012" fontAlgn="base">
              <a:lnSpc>
                <a:spcPts val="881"/>
              </a:lnSpc>
              <a:spcBef>
                <a:spcPct val="0"/>
              </a:spcBef>
              <a:spcAft>
                <a:spcPct val="0"/>
              </a:spcAft>
            </a:pPr>
            <a:r>
              <a:rPr lang="en-US" sz="735">
                <a:solidFill>
                  <a:srgbClr val="FFFFFF"/>
                </a:solidFill>
              </a:rPr>
              <a:t>The information herein is for informational purposes only and represents the current view of Microsoft Corporation as of the date of this presentation. Because Microsoft must respond to changing market</a:t>
            </a:r>
          </a:p>
          <a:p>
            <a:pPr defTabSz="685012" fontAlgn="base">
              <a:lnSpc>
                <a:spcPts val="881"/>
              </a:lnSpc>
              <a:spcBef>
                <a:spcPct val="0"/>
              </a:spcBef>
              <a:spcAft>
                <a:spcPct val="0"/>
              </a:spcAft>
            </a:pPr>
            <a:r>
              <a:rPr lang="en-US" sz="735">
                <a:solidFill>
                  <a:srgbClr val="FFFFFF"/>
                </a:solidFill>
              </a:rPr>
              <a:t>conditions, it should not be interpreted to be a commitment on the part of Microsoft, and Microsoft cannot guarantee the accuracy of any information provided after the date of this presentation.</a:t>
            </a:r>
          </a:p>
          <a:p>
            <a:pPr defTabSz="685012" fontAlgn="base">
              <a:lnSpc>
                <a:spcPts val="881"/>
              </a:lnSpc>
              <a:spcBef>
                <a:spcPct val="0"/>
              </a:spcBef>
              <a:spcAft>
                <a:spcPct val="0"/>
              </a:spcAft>
            </a:pPr>
            <a:r>
              <a:rPr lang="en-US" sz="735">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961714210"/>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ode">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p:nvGrpSpPr>
        <p:grpSpPr>
          <a:xfrm>
            <a:off x="83664"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21" name="Group 1820">
            <a:extLst>
              <a:ext uri="{FF2B5EF4-FFF2-40B4-BE49-F238E27FC236}">
                <a16:creationId xmlns:a16="http://schemas.microsoft.com/office/drawing/2014/main" id="{541099ED-BB8B-4885-9A17-74E3BE69FE69}"/>
              </a:ext>
            </a:extLst>
          </p:cNvPr>
          <p:cNvGrpSpPr/>
          <p:nvPr/>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6" name="Group 1805">
            <a:extLst>
              <a:ext uri="{FF2B5EF4-FFF2-40B4-BE49-F238E27FC236}">
                <a16:creationId xmlns:a16="http://schemas.microsoft.com/office/drawing/2014/main" id="{BE72D951-75A4-4DA9-8903-264B4C8AD6CE}"/>
              </a:ext>
            </a:extLst>
          </p:cNvPr>
          <p:cNvGrpSpPr/>
          <p:nvPr/>
        </p:nvGrpSpPr>
        <p:grpSpPr>
          <a:xfrm>
            <a:off x="83664"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4" name="Group 1803">
            <a:extLst>
              <a:ext uri="{FF2B5EF4-FFF2-40B4-BE49-F238E27FC236}">
                <a16:creationId xmlns:a16="http://schemas.microsoft.com/office/drawing/2014/main" id="{2FFD6C10-FC4C-4F41-B7FF-62886559664D}"/>
              </a:ext>
            </a:extLst>
          </p:cNvPr>
          <p:cNvGrpSpPr/>
          <p:nvPr/>
        </p:nvGrpSpPr>
        <p:grpSpPr>
          <a:xfrm>
            <a:off x="83665"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5" name="Group 1804">
            <a:extLst>
              <a:ext uri="{FF2B5EF4-FFF2-40B4-BE49-F238E27FC236}">
                <a16:creationId xmlns:a16="http://schemas.microsoft.com/office/drawing/2014/main" id="{175F517F-E574-43AC-BCC9-20114D6375CB}"/>
              </a:ext>
            </a:extLst>
          </p:cNvPr>
          <p:cNvGrpSpPr/>
          <p:nvPr/>
        </p:nvGrpSpPr>
        <p:grpSpPr>
          <a:xfrm>
            <a:off x="83663"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0" name="Group 1809">
            <a:extLst>
              <a:ext uri="{FF2B5EF4-FFF2-40B4-BE49-F238E27FC236}">
                <a16:creationId xmlns:a16="http://schemas.microsoft.com/office/drawing/2014/main" id="{6B1C29B7-1E4C-42E9-BFF5-AFA071F0966B}"/>
              </a:ext>
            </a:extLst>
          </p:cNvPr>
          <p:cNvGrpSpPr/>
          <p:nvPr/>
        </p:nvGrpSpPr>
        <p:grpSpPr>
          <a:xfrm>
            <a:off x="83665"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8" name="Group 1797">
            <a:extLst>
              <a:ext uri="{FF2B5EF4-FFF2-40B4-BE49-F238E27FC236}">
                <a16:creationId xmlns:a16="http://schemas.microsoft.com/office/drawing/2014/main" id="{5F02200C-C22A-4A75-B14B-3B600A54815C}"/>
              </a:ext>
            </a:extLst>
          </p:cNvPr>
          <p:cNvGrpSpPr/>
          <p:nvPr/>
        </p:nvGrpSpPr>
        <p:grpSpPr>
          <a:xfrm>
            <a:off x="83664"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8" name="Group 1807">
            <a:extLst>
              <a:ext uri="{FF2B5EF4-FFF2-40B4-BE49-F238E27FC236}">
                <a16:creationId xmlns:a16="http://schemas.microsoft.com/office/drawing/2014/main" id="{F97B1388-E461-4A38-9B09-B364514CB632}"/>
              </a:ext>
            </a:extLst>
          </p:cNvPr>
          <p:cNvGrpSpPr/>
          <p:nvPr/>
        </p:nvGrpSpPr>
        <p:grpSpPr>
          <a:xfrm>
            <a:off x="83663"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9" name="Group 1808">
            <a:extLst>
              <a:ext uri="{FF2B5EF4-FFF2-40B4-BE49-F238E27FC236}">
                <a16:creationId xmlns:a16="http://schemas.microsoft.com/office/drawing/2014/main" id="{800BFD97-21DF-408D-9CD6-4059272BD1AA}"/>
              </a:ext>
            </a:extLst>
          </p:cNvPr>
          <p:cNvGrpSpPr/>
          <p:nvPr/>
        </p:nvGrpSpPr>
        <p:grpSpPr>
          <a:xfrm>
            <a:off x="83664"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5" name="Group 1794">
            <a:extLst>
              <a:ext uri="{FF2B5EF4-FFF2-40B4-BE49-F238E27FC236}">
                <a16:creationId xmlns:a16="http://schemas.microsoft.com/office/drawing/2014/main" id="{FE4EC17A-6954-4BFF-B6A5-218A353571C6}"/>
              </a:ext>
            </a:extLst>
          </p:cNvPr>
          <p:cNvGrpSpPr/>
          <p:nvPr/>
        </p:nvGrpSpPr>
        <p:grpSpPr>
          <a:xfrm>
            <a:off x="83665"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6" name="Group 1795">
            <a:extLst>
              <a:ext uri="{FF2B5EF4-FFF2-40B4-BE49-F238E27FC236}">
                <a16:creationId xmlns:a16="http://schemas.microsoft.com/office/drawing/2014/main" id="{78F5DB95-0743-4194-AF8E-731BCEBC63A0}"/>
              </a:ext>
            </a:extLst>
          </p:cNvPr>
          <p:cNvGrpSpPr/>
          <p:nvPr/>
        </p:nvGrpSpPr>
        <p:grpSpPr>
          <a:xfrm>
            <a:off x="83663"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797" name="Group 1796">
            <a:extLst>
              <a:ext uri="{FF2B5EF4-FFF2-40B4-BE49-F238E27FC236}">
                <a16:creationId xmlns:a16="http://schemas.microsoft.com/office/drawing/2014/main" id="{ADCA3183-3389-4486-8913-D1AEFF5E6A10}"/>
              </a:ext>
            </a:extLst>
          </p:cNvPr>
          <p:cNvGrpSpPr/>
          <p:nvPr/>
        </p:nvGrpSpPr>
        <p:grpSpPr>
          <a:xfrm>
            <a:off x="83665"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2" name="Group 1801">
            <a:extLst>
              <a:ext uri="{FF2B5EF4-FFF2-40B4-BE49-F238E27FC236}">
                <a16:creationId xmlns:a16="http://schemas.microsoft.com/office/drawing/2014/main" id="{6AE2B9B6-C947-40E8-9C29-194017E32D74}"/>
              </a:ext>
            </a:extLst>
          </p:cNvPr>
          <p:cNvGrpSpPr/>
          <p:nvPr/>
        </p:nvGrpSpPr>
        <p:grpSpPr>
          <a:xfrm>
            <a:off x="83664"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1" name="Group 1800">
            <a:extLst>
              <a:ext uri="{FF2B5EF4-FFF2-40B4-BE49-F238E27FC236}">
                <a16:creationId xmlns:a16="http://schemas.microsoft.com/office/drawing/2014/main" id="{683F34A0-4824-4E5A-A9CC-124D714530BA}"/>
              </a:ext>
            </a:extLst>
          </p:cNvPr>
          <p:cNvGrpSpPr/>
          <p:nvPr/>
        </p:nvGrpSpPr>
        <p:grpSpPr>
          <a:xfrm>
            <a:off x="83663"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0" name="Group 1799">
            <a:extLst>
              <a:ext uri="{FF2B5EF4-FFF2-40B4-BE49-F238E27FC236}">
                <a16:creationId xmlns:a16="http://schemas.microsoft.com/office/drawing/2014/main" id="{9F10D460-6A74-4818-9F46-EAE7C1C9C177}"/>
              </a:ext>
            </a:extLst>
          </p:cNvPr>
          <p:cNvGrpSpPr/>
          <p:nvPr/>
        </p:nvGrpSpPr>
        <p:grpSpPr>
          <a:xfrm>
            <a:off x="83664"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4" name="Group 1813">
            <a:extLst>
              <a:ext uri="{FF2B5EF4-FFF2-40B4-BE49-F238E27FC236}">
                <a16:creationId xmlns:a16="http://schemas.microsoft.com/office/drawing/2014/main" id="{CCBAA3F1-F5D7-47E2-8204-499FF31AC1BA}"/>
              </a:ext>
            </a:extLst>
          </p:cNvPr>
          <p:cNvGrpSpPr/>
          <p:nvPr/>
        </p:nvGrpSpPr>
        <p:grpSpPr>
          <a:xfrm>
            <a:off x="83665"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3" name="Group 1802">
            <a:extLst>
              <a:ext uri="{FF2B5EF4-FFF2-40B4-BE49-F238E27FC236}">
                <a16:creationId xmlns:a16="http://schemas.microsoft.com/office/drawing/2014/main" id="{C83934FF-0BB5-4BAF-B03C-B0B783135BB8}"/>
              </a:ext>
            </a:extLst>
          </p:cNvPr>
          <p:cNvGrpSpPr/>
          <p:nvPr/>
        </p:nvGrpSpPr>
        <p:grpSpPr>
          <a:xfrm>
            <a:off x="83663"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9" name="Group 1818">
            <a:extLst>
              <a:ext uri="{FF2B5EF4-FFF2-40B4-BE49-F238E27FC236}">
                <a16:creationId xmlns:a16="http://schemas.microsoft.com/office/drawing/2014/main" id="{430371C6-CFD6-408B-A6C1-DC1E1EE72F2C}"/>
              </a:ext>
            </a:extLst>
          </p:cNvPr>
          <p:cNvGrpSpPr/>
          <p:nvPr/>
        </p:nvGrpSpPr>
        <p:grpSpPr>
          <a:xfrm>
            <a:off x="83665"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6" name="Group 1815">
            <a:extLst>
              <a:ext uri="{FF2B5EF4-FFF2-40B4-BE49-F238E27FC236}">
                <a16:creationId xmlns:a16="http://schemas.microsoft.com/office/drawing/2014/main" id="{2664D0B0-09D6-4FA8-82F9-5E73C364D9F6}"/>
              </a:ext>
            </a:extLst>
          </p:cNvPr>
          <p:cNvGrpSpPr/>
          <p:nvPr/>
        </p:nvGrpSpPr>
        <p:grpSpPr>
          <a:xfrm>
            <a:off x="83664"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5" name="Group 1814">
            <a:extLst>
              <a:ext uri="{FF2B5EF4-FFF2-40B4-BE49-F238E27FC236}">
                <a16:creationId xmlns:a16="http://schemas.microsoft.com/office/drawing/2014/main" id="{1D84FA7B-137F-435D-8123-CAB304758178}"/>
              </a:ext>
            </a:extLst>
          </p:cNvPr>
          <p:cNvGrpSpPr/>
          <p:nvPr/>
        </p:nvGrpSpPr>
        <p:grpSpPr>
          <a:xfrm>
            <a:off x="83663"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3" name="Group 1812">
            <a:extLst>
              <a:ext uri="{FF2B5EF4-FFF2-40B4-BE49-F238E27FC236}">
                <a16:creationId xmlns:a16="http://schemas.microsoft.com/office/drawing/2014/main" id="{DC03940F-B74A-4BB0-A29E-05138DBEF958}"/>
              </a:ext>
            </a:extLst>
          </p:cNvPr>
          <p:cNvGrpSpPr/>
          <p:nvPr/>
        </p:nvGrpSpPr>
        <p:grpSpPr>
          <a:xfrm>
            <a:off x="83664"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07" name="Group 1806">
            <a:extLst>
              <a:ext uri="{FF2B5EF4-FFF2-40B4-BE49-F238E27FC236}">
                <a16:creationId xmlns:a16="http://schemas.microsoft.com/office/drawing/2014/main" id="{92FDE850-1B12-48F0-BED6-2DBAB9165F64}"/>
              </a:ext>
            </a:extLst>
          </p:cNvPr>
          <p:cNvGrpSpPr/>
          <p:nvPr/>
        </p:nvGrpSpPr>
        <p:grpSpPr>
          <a:xfrm>
            <a:off x="83665"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8" name="Group 1817">
            <a:extLst>
              <a:ext uri="{FF2B5EF4-FFF2-40B4-BE49-F238E27FC236}">
                <a16:creationId xmlns:a16="http://schemas.microsoft.com/office/drawing/2014/main" id="{467AD0AE-48AD-458F-9364-8892C9F2C72D}"/>
              </a:ext>
            </a:extLst>
          </p:cNvPr>
          <p:cNvGrpSpPr/>
          <p:nvPr/>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817" name="Group 1816">
            <a:extLst>
              <a:ext uri="{FF2B5EF4-FFF2-40B4-BE49-F238E27FC236}">
                <a16:creationId xmlns:a16="http://schemas.microsoft.com/office/drawing/2014/main" id="{03FF1F65-9B53-4447-9561-8C77C76AC1E1}"/>
              </a:ext>
            </a:extLst>
          </p:cNvPr>
          <p:cNvGrpSpPr/>
          <p:nvPr/>
        </p:nvGrpSpPr>
        <p:grpSpPr>
          <a:xfrm>
            <a:off x="83665"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14"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Tree>
    <p:extLst>
      <p:ext uri="{BB962C8B-B14F-4D97-AF65-F5344CB8AC3E}">
        <p14:creationId xmlns:p14="http://schemas.microsoft.com/office/powerpoint/2010/main" val="1050298591"/>
      </p:ext>
    </p:extLst>
  </p:cSld>
  <p:clrMapOvr>
    <a:masterClrMapping/>
  </p:clrMapOvr>
  <p:transition>
    <p:fade/>
  </p:transition>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4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p:nvGrpSpPr>
        <p:grpSpPr>
          <a:xfrm>
            <a:off x="83664"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p:nvGrpSpPr>
        <p:grpSpPr>
          <a:xfrm>
            <a:off x="83663" y="2914177"/>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p:nvGrpSpPr>
        <p:grpSpPr>
          <a:xfrm>
            <a:off x="83664"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p:nvGrpSpPr>
        <p:grpSpPr>
          <a:xfrm>
            <a:off x="83665"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p:nvGrpSpPr>
        <p:grpSpPr>
          <a:xfrm>
            <a:off x="83663"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p:nvGrpSpPr>
        <p:grpSpPr>
          <a:xfrm>
            <a:off x="83665" y="2344109"/>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p:nvGrpSpPr>
        <p:grpSpPr>
          <a:xfrm>
            <a:off x="83664" y="918939"/>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p:nvGrpSpPr>
        <p:grpSpPr>
          <a:xfrm>
            <a:off x="83663"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p:nvGrpSpPr>
        <p:grpSpPr>
          <a:xfrm>
            <a:off x="83664" y="1489007"/>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p:nvGrpSpPr>
        <p:grpSpPr>
          <a:xfrm>
            <a:off x="83665" y="63837"/>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p:nvGrpSpPr>
        <p:grpSpPr>
          <a:xfrm>
            <a:off x="83663"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p:nvGrpSpPr>
        <p:grpSpPr>
          <a:xfrm>
            <a:off x="83665"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p:nvGrpSpPr>
        <p:grpSpPr>
          <a:xfrm>
            <a:off x="83664"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p:nvGrpSpPr>
        <p:grpSpPr>
          <a:xfrm>
            <a:off x="83663"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p:nvGrpSpPr>
        <p:grpSpPr>
          <a:xfrm>
            <a:off x="83664"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p:nvGrpSpPr>
        <p:grpSpPr>
          <a:xfrm>
            <a:off x="83665" y="5194449"/>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p:nvGrpSpPr>
        <p:grpSpPr>
          <a:xfrm>
            <a:off x="83663"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p:nvGrpSpPr>
        <p:grpSpPr>
          <a:xfrm>
            <a:off x="83665" y="5764517"/>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p:nvGrpSpPr>
        <p:grpSpPr>
          <a:xfrm>
            <a:off x="83664" y="4339347"/>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p:nvGrpSpPr>
        <p:grpSpPr>
          <a:xfrm>
            <a:off x="83663"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p:nvGrpSpPr>
        <p:grpSpPr>
          <a:xfrm>
            <a:off x="83664"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p:nvGrpSpPr>
        <p:grpSpPr>
          <a:xfrm>
            <a:off x="83665"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p:nvGrpSpPr>
        <p:grpSpPr>
          <a:xfrm>
            <a:off x="83663" y="3769279"/>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p:nvGrpSpPr>
        <p:grpSpPr>
          <a:xfrm>
            <a:off x="83665"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675">
                <a:gradFill>
                  <a:gsLst>
                    <a:gs pos="0">
                      <a:srgbClr val="505050"/>
                    </a:gs>
                    <a:gs pos="100000">
                      <a:srgbClr val="505050"/>
                    </a:gs>
                  </a:gsLst>
                </a:gradFill>
              </a:endParaRPr>
            </a:p>
          </p:txBody>
        </p:sp>
      </p:grpSp>
      <p:sp>
        <p:nvSpPr>
          <p:cNvPr id="2" name="Rectangle 1"/>
          <p:cNvSpPr/>
          <p:nvPr/>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68"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4459790"/>
      </p:ext>
    </p:extLst>
  </p:cSld>
  <p:clrMapOvr>
    <a:masterClrMapping/>
  </p:clrMapOvr>
  <p:transition>
    <p:fade/>
  </p:transition>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517788"/>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44" indent="0">
              <a:buNone/>
              <a:defRPr/>
            </a:lvl3pPr>
            <a:lvl4pPr marL="336087" indent="0">
              <a:buNone/>
              <a:defRPr/>
            </a:lvl4pPr>
            <a:lvl5pPr marL="50413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8918299"/>
      </p:ext>
    </p:extLst>
  </p:cSld>
  <p:clrMapOvr>
    <a:masterClrMapping/>
  </p:clrMapOvr>
  <p:transition>
    <p:fade/>
  </p:transition>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p:nvSpPr>
        <p:spPr bwMode="auto">
          <a:xfrm>
            <a:off x="-20172" y="-1"/>
            <a:ext cx="12212173" cy="2375647"/>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ctr" anchorCtr="0" forceAA="0" compatLnSpc="1">
            <a:prstTxWarp prst="textNoShape">
              <a:avLst/>
            </a:prstTxWarp>
            <a:noAutofit/>
          </a:bodyPr>
          <a:lstStyle/>
          <a:p>
            <a:pPr marL="0" marR="0" lvl="0" indent="0" algn="ctr" defTabSz="69923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4"/>
            <a:ext cx="11662784" cy="899665"/>
          </a:xfrm>
        </p:spPr>
        <p:txBody>
          <a:bodyPr/>
          <a:lstStyle>
            <a:lvl1pPr>
              <a:defRPr>
                <a:solidFill>
                  <a:schemeClr val="bg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7" y="1189178"/>
            <a:ext cx="11922123" cy="825419"/>
          </a:xfrm>
        </p:spPr>
        <p:txBody>
          <a:bodyPr/>
          <a:lstStyle>
            <a:lvl1pPr>
              <a:defRPr>
                <a:solidFill>
                  <a:schemeClr val="bg1"/>
                </a:solidFill>
              </a:defRPr>
            </a:lvl1pPr>
            <a:lvl2pPr>
              <a:defRPr sz="1500">
                <a:solidFill>
                  <a:schemeClr val="bg1"/>
                </a:solidFill>
              </a:defRPr>
            </a:lvl2pPr>
            <a:lvl3pPr>
              <a:defRPr sz="15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269242" y="4842512"/>
            <a:ext cx="2868929" cy="1207510"/>
          </a:xfrm>
        </p:spPr>
        <p:txBody>
          <a:bodyPr anchor="t"/>
          <a:lstStyle>
            <a:lvl1pPr>
              <a:spcBef>
                <a:spcPts val="0"/>
              </a:spcBef>
              <a:spcAft>
                <a:spcPts val="225"/>
              </a:spcAft>
              <a:defRPr sz="1500" b="0">
                <a:solidFill>
                  <a:schemeClr val="tx2"/>
                </a:solidFill>
                <a:latin typeface="+mn-lt"/>
              </a:defRPr>
            </a:lvl1pPr>
            <a:lvl2pPr>
              <a:spcBef>
                <a:spcPts val="0"/>
              </a:spcBef>
              <a:defRPr sz="1200"/>
            </a:lvl2pPr>
            <a:lvl3pPr>
              <a:spcBef>
                <a:spcPts val="0"/>
              </a:spcBef>
              <a:defRPr sz="1200"/>
            </a:lvl3pPr>
            <a:lvl4pPr>
              <a:spcBef>
                <a:spcPts val="0"/>
              </a:spcBef>
              <a:defRPr sz="900"/>
            </a:lvl4pPr>
            <a:lvl5pPr>
              <a:spcBef>
                <a:spcPts val="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3206900" y="4842512"/>
            <a:ext cx="2868929" cy="1207510"/>
          </a:xfrm>
        </p:spPr>
        <p:txBody>
          <a:bodyPr anchor="t"/>
          <a:lstStyle>
            <a:lvl1pPr>
              <a:spcBef>
                <a:spcPts val="0"/>
              </a:spcBef>
              <a:spcAft>
                <a:spcPts val="225"/>
              </a:spcAft>
              <a:defRPr sz="1500" b="0">
                <a:solidFill>
                  <a:schemeClr val="tx2"/>
                </a:solidFill>
                <a:latin typeface="+mn-lt"/>
              </a:defRPr>
            </a:lvl1pPr>
            <a:lvl2pPr>
              <a:spcBef>
                <a:spcPts val="0"/>
              </a:spcBef>
              <a:defRPr sz="1200"/>
            </a:lvl2pPr>
            <a:lvl3pPr>
              <a:spcBef>
                <a:spcPts val="0"/>
              </a:spcBef>
              <a:defRPr sz="1200"/>
            </a:lvl3pPr>
            <a:lvl4pPr>
              <a:spcBef>
                <a:spcPts val="0"/>
              </a:spcBef>
              <a:defRPr sz="900"/>
            </a:lvl4pPr>
            <a:lvl5pPr>
              <a:spcBef>
                <a:spcPts val="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6144558" y="4842512"/>
            <a:ext cx="2868929" cy="1207510"/>
          </a:xfrm>
        </p:spPr>
        <p:txBody>
          <a:bodyPr anchor="t"/>
          <a:lstStyle>
            <a:lvl1pPr>
              <a:spcBef>
                <a:spcPts val="0"/>
              </a:spcBef>
              <a:spcAft>
                <a:spcPts val="225"/>
              </a:spcAft>
              <a:defRPr sz="1500" b="0">
                <a:solidFill>
                  <a:schemeClr val="tx2"/>
                </a:solidFill>
                <a:latin typeface="+mn-lt"/>
              </a:defRPr>
            </a:lvl1pPr>
            <a:lvl2pPr>
              <a:spcBef>
                <a:spcPts val="0"/>
              </a:spcBef>
              <a:defRPr sz="1200"/>
            </a:lvl2pPr>
            <a:lvl3pPr>
              <a:spcBef>
                <a:spcPts val="0"/>
              </a:spcBef>
              <a:defRPr sz="1200"/>
            </a:lvl3pPr>
            <a:lvl4pPr>
              <a:spcBef>
                <a:spcPts val="0"/>
              </a:spcBef>
              <a:defRPr sz="900"/>
            </a:lvl4pPr>
            <a:lvl5pPr>
              <a:spcBef>
                <a:spcPts val="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C2FE9B4C-BAB8-461F-8CD4-A8085629BC28}"/>
              </a:ext>
            </a:extLst>
          </p:cNvPr>
          <p:cNvSpPr>
            <a:spLocks noGrp="1"/>
          </p:cNvSpPr>
          <p:nvPr>
            <p:ph type="body" sz="quarter" idx="14"/>
          </p:nvPr>
        </p:nvSpPr>
        <p:spPr>
          <a:xfrm>
            <a:off x="9082217" y="4842512"/>
            <a:ext cx="2868929" cy="1207510"/>
          </a:xfrm>
        </p:spPr>
        <p:txBody>
          <a:bodyPr anchor="t"/>
          <a:lstStyle>
            <a:lvl1pPr>
              <a:spcBef>
                <a:spcPts val="0"/>
              </a:spcBef>
              <a:spcAft>
                <a:spcPts val="225"/>
              </a:spcAft>
              <a:defRPr sz="1500" b="0">
                <a:solidFill>
                  <a:schemeClr val="tx2"/>
                </a:solidFill>
                <a:latin typeface="+mn-lt"/>
              </a:defRPr>
            </a:lvl1pPr>
            <a:lvl2pPr>
              <a:spcBef>
                <a:spcPts val="0"/>
              </a:spcBef>
              <a:defRPr sz="1200"/>
            </a:lvl2pPr>
            <a:lvl3pPr>
              <a:spcBef>
                <a:spcPts val="0"/>
              </a:spcBef>
              <a:defRPr sz="1200"/>
            </a:lvl3pPr>
            <a:lvl4pPr>
              <a:spcBef>
                <a:spcPts val="0"/>
              </a:spcBef>
              <a:defRPr sz="900"/>
            </a:lvl4pPr>
            <a:lvl5pPr>
              <a:spcBef>
                <a:spcPts val="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2506005"/>
      </p:ext>
    </p:extLst>
  </p:cSld>
  <p:clrMapOvr>
    <a:masterClrMapping/>
  </p:clrMapOvr>
  <p:transition>
    <p:fade/>
  </p:transition>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B8707A-FE38-4F53-9F99-D18ECCBF0EDF}"/>
              </a:ext>
            </a:extLst>
          </p:cNvPr>
          <p:cNvSpPr/>
          <p:nvPr/>
        </p:nvSpPr>
        <p:spPr bwMode="auto">
          <a:xfrm>
            <a:off x="-20172" y="-1"/>
            <a:ext cx="12212173" cy="2375647"/>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ctr" anchorCtr="0" forceAA="0" compatLnSpc="1">
            <a:prstTxWarp prst="textNoShape">
              <a:avLst/>
            </a:prstTxWarp>
            <a:noAutofit/>
          </a:bodyPr>
          <a:lstStyle/>
          <a:p>
            <a:pPr marL="0" marR="0" lvl="0" indent="0" algn="ctr" defTabSz="69923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a:xfrm>
            <a:off x="269241" y="289514"/>
            <a:ext cx="11662784" cy="899665"/>
          </a:xfrm>
        </p:spPr>
        <p:txBody>
          <a:bodyPr/>
          <a:lstStyle>
            <a:lvl1pPr>
              <a:defRPr>
                <a:solidFill>
                  <a:schemeClr val="bg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A9E0EA0-8D6E-4590-9148-D98C2F038D4C}"/>
              </a:ext>
            </a:extLst>
          </p:cNvPr>
          <p:cNvSpPr>
            <a:spLocks noGrp="1"/>
          </p:cNvSpPr>
          <p:nvPr>
            <p:ph type="body" sz="quarter" idx="10"/>
          </p:nvPr>
        </p:nvSpPr>
        <p:spPr>
          <a:xfrm>
            <a:off x="269877" y="1117462"/>
            <a:ext cx="11922123" cy="793551"/>
          </a:xfrm>
        </p:spPr>
        <p:txBody>
          <a:bodyPr/>
          <a:lstStyle>
            <a:lvl1pPr marL="0" indent="0">
              <a:spcBef>
                <a:spcPts val="0"/>
              </a:spcBef>
              <a:spcAft>
                <a:spcPts val="450"/>
              </a:spcAft>
              <a:buNone/>
              <a:defRPr sz="2100">
                <a:solidFill>
                  <a:schemeClr val="bg1"/>
                </a:solidFill>
              </a:defRPr>
            </a:lvl1pPr>
            <a:lvl2pPr marL="168043" indent="0">
              <a:buNone/>
              <a:defRPr sz="1500">
                <a:solidFill>
                  <a:schemeClr val="bg1"/>
                </a:solidFill>
              </a:defRPr>
            </a:lvl2pPr>
            <a:lvl3pPr>
              <a:defRPr sz="15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p:txBody>
      </p:sp>
      <p:sp>
        <p:nvSpPr>
          <p:cNvPr id="5" name="Text Placeholder 4">
            <a:extLst>
              <a:ext uri="{FF2B5EF4-FFF2-40B4-BE49-F238E27FC236}">
                <a16:creationId xmlns:a16="http://schemas.microsoft.com/office/drawing/2014/main" id="{4FE376AC-ED51-4E76-B89C-5B54E5AAF041}"/>
              </a:ext>
            </a:extLst>
          </p:cNvPr>
          <p:cNvSpPr>
            <a:spLocks noGrp="1"/>
          </p:cNvSpPr>
          <p:nvPr>
            <p:ph type="body" sz="quarter" idx="11"/>
          </p:nvPr>
        </p:nvSpPr>
        <p:spPr>
          <a:xfrm>
            <a:off x="1497407" y="4842511"/>
            <a:ext cx="2868929" cy="1207510"/>
          </a:xfrm>
        </p:spPr>
        <p:txBody>
          <a:bodyPr anchor="t"/>
          <a:lstStyle>
            <a:lvl1pPr>
              <a:spcBef>
                <a:spcPts val="0"/>
              </a:spcBef>
              <a:spcAft>
                <a:spcPts val="225"/>
              </a:spcAft>
              <a:defRPr sz="1500" b="0">
                <a:solidFill>
                  <a:schemeClr val="tx2"/>
                </a:solidFill>
                <a:latin typeface="+mn-lt"/>
              </a:defRPr>
            </a:lvl1pPr>
            <a:lvl2pPr>
              <a:spcBef>
                <a:spcPts val="0"/>
              </a:spcBef>
              <a:defRPr sz="1200"/>
            </a:lvl2pPr>
            <a:lvl3pPr>
              <a:spcBef>
                <a:spcPts val="0"/>
              </a:spcBef>
              <a:defRPr sz="1200"/>
            </a:lvl3pPr>
            <a:lvl4pPr>
              <a:spcBef>
                <a:spcPts val="0"/>
              </a:spcBef>
              <a:defRPr sz="900"/>
            </a:lvl4pPr>
            <a:lvl5pPr>
              <a:spcBef>
                <a:spcPts val="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C93871F8-E8F5-4A32-8A74-A377B142F671}"/>
              </a:ext>
            </a:extLst>
          </p:cNvPr>
          <p:cNvSpPr>
            <a:spLocks noGrp="1"/>
          </p:cNvSpPr>
          <p:nvPr>
            <p:ph type="body" sz="quarter" idx="12"/>
          </p:nvPr>
        </p:nvSpPr>
        <p:spPr>
          <a:xfrm>
            <a:off x="4435065" y="4842511"/>
            <a:ext cx="2868929" cy="1207510"/>
          </a:xfrm>
        </p:spPr>
        <p:txBody>
          <a:bodyPr anchor="t"/>
          <a:lstStyle>
            <a:lvl1pPr>
              <a:spcBef>
                <a:spcPts val="0"/>
              </a:spcBef>
              <a:spcAft>
                <a:spcPts val="225"/>
              </a:spcAft>
              <a:defRPr sz="1500" b="0">
                <a:solidFill>
                  <a:schemeClr val="tx2"/>
                </a:solidFill>
                <a:latin typeface="+mn-lt"/>
              </a:defRPr>
            </a:lvl1pPr>
            <a:lvl2pPr>
              <a:spcBef>
                <a:spcPts val="0"/>
              </a:spcBef>
              <a:defRPr sz="1200"/>
            </a:lvl2pPr>
            <a:lvl3pPr>
              <a:spcBef>
                <a:spcPts val="0"/>
              </a:spcBef>
              <a:defRPr sz="1200"/>
            </a:lvl3pPr>
            <a:lvl4pPr>
              <a:spcBef>
                <a:spcPts val="0"/>
              </a:spcBef>
              <a:defRPr sz="900"/>
            </a:lvl4pPr>
            <a:lvl5pPr>
              <a:spcBef>
                <a:spcPts val="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CF2C3E02-CE73-4ECA-93F4-9A28E3166012}"/>
              </a:ext>
            </a:extLst>
          </p:cNvPr>
          <p:cNvSpPr>
            <a:spLocks noGrp="1"/>
          </p:cNvSpPr>
          <p:nvPr>
            <p:ph type="body" sz="quarter" idx="13"/>
          </p:nvPr>
        </p:nvSpPr>
        <p:spPr>
          <a:xfrm>
            <a:off x="7372723" y="4842511"/>
            <a:ext cx="2868929" cy="1207510"/>
          </a:xfrm>
        </p:spPr>
        <p:txBody>
          <a:bodyPr anchor="t"/>
          <a:lstStyle>
            <a:lvl1pPr>
              <a:spcBef>
                <a:spcPts val="0"/>
              </a:spcBef>
              <a:spcAft>
                <a:spcPts val="225"/>
              </a:spcAft>
              <a:defRPr sz="1500" b="0">
                <a:solidFill>
                  <a:schemeClr val="tx2"/>
                </a:solidFill>
                <a:latin typeface="+mn-lt"/>
              </a:defRPr>
            </a:lvl1pPr>
            <a:lvl2pPr>
              <a:spcBef>
                <a:spcPts val="0"/>
              </a:spcBef>
              <a:defRPr sz="1200"/>
            </a:lvl2pPr>
            <a:lvl3pPr>
              <a:spcBef>
                <a:spcPts val="0"/>
              </a:spcBef>
              <a:defRPr sz="1200"/>
            </a:lvl3pPr>
            <a:lvl4pPr>
              <a:spcBef>
                <a:spcPts val="0"/>
              </a:spcBef>
              <a:defRPr sz="900"/>
            </a:lvl4pPr>
            <a:lvl5pPr>
              <a:spcBef>
                <a:spcPts val="0"/>
              </a:spcBef>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212783"/>
      </p:ext>
    </p:extLst>
  </p:cSld>
  <p:clrMapOvr>
    <a:masterClrMapping/>
  </p:clrMapOvr>
  <p:transition>
    <p:fade/>
  </p:transition>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0983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sz="3000" spc="-38"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17106066"/>
      </p:ext>
    </p:extLst>
  </p:cSld>
  <p:clrMapOvr>
    <a:masterClrMapping/>
  </p:clrMapOvr>
  <p:transition>
    <p:fade/>
  </p:transition>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p>
            <a:r>
              <a:rPr lang="en-US"/>
              <a:t>Click to edit Master title style</a:t>
            </a:r>
          </a:p>
        </p:txBody>
      </p:sp>
      <p:sp>
        <p:nvSpPr>
          <p:cNvPr id="6" name="Text Placeholder 5"/>
          <p:cNvSpPr>
            <a:spLocks noGrp="1"/>
          </p:cNvSpPr>
          <p:nvPr>
            <p:ph type="body" sz="quarter" idx="11"/>
          </p:nvPr>
        </p:nvSpPr>
        <p:spPr>
          <a:xfrm>
            <a:off x="267684" y="963482"/>
            <a:ext cx="11655078" cy="469872"/>
          </a:xfrm>
        </p:spPr>
        <p:txBody>
          <a:bodyPr/>
          <a:lstStyle>
            <a:lvl1pPr marL="0" indent="0">
              <a:buFont typeface="Arial" panose="020B0604020202020204" pitchFamily="34" charset="0"/>
              <a:buNone/>
              <a:defRPr sz="2059">
                <a:solidFill>
                  <a:schemeClr val="tx2"/>
                </a:solidFill>
              </a:defRPr>
            </a:lvl1pPr>
            <a:lvl2pPr marL="252114" indent="0">
              <a:buNone/>
              <a:defRPr/>
            </a:lvl2pPr>
            <a:lvl3pPr marL="420189" indent="0">
              <a:buNone/>
              <a:defRPr/>
            </a:lvl3pPr>
            <a:lvl4pPr marL="588265" indent="0">
              <a:buNone/>
              <a:defRPr/>
            </a:lvl4pPr>
            <a:lvl5pPr marL="756342" indent="0">
              <a:buNone/>
              <a:defRPr/>
            </a:lvl5pPr>
          </a:lstStyle>
          <a:p>
            <a:pPr lvl="0"/>
            <a:r>
              <a:rPr lang="en-US"/>
              <a:t>Click to edit Master text styles</a:t>
            </a:r>
          </a:p>
        </p:txBody>
      </p:sp>
    </p:spTree>
    <p:extLst>
      <p:ext uri="{BB962C8B-B14F-4D97-AF65-F5344CB8AC3E}">
        <p14:creationId xmlns:p14="http://schemas.microsoft.com/office/powerpoint/2010/main" val="2373526820"/>
      </p:ext>
    </p:extLst>
  </p:cSld>
  <p:clrMapOvr>
    <a:masterClrMapping/>
  </p:clrMapOvr>
  <p:transition>
    <p:fade/>
  </p:transition>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329666"/>
      </p:ext>
    </p:extLst>
  </p:cSld>
  <p:clrMapOvr>
    <a:masterClrMapping/>
  </p:clrMapOvr>
  <p:transition>
    <p:fade/>
  </p:transition>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p:nvGrpSpPr>
        <p:grpSpPr>
          <a:xfrm>
            <a:off x="1463934" y="1626537"/>
            <a:ext cx="8402940" cy="4263966"/>
            <a:chOff x="1463933" y="1626535"/>
            <a:chExt cx="8402940" cy="4263966"/>
          </a:xfrm>
          <a:solidFill>
            <a:schemeClr val="bg2"/>
          </a:solidFill>
        </p:grpSpPr>
        <p:sp>
          <p:nvSpPr>
            <p:cNvPr id="4" name="Rectangle 3">
              <a:extLst>
                <a:ext uri="{FF2B5EF4-FFF2-40B4-BE49-F238E27FC236}">
                  <a16:creationId xmlns:a16="http://schemas.microsoft.com/office/drawing/2014/main" id="{B9560209-0B17-4019-AF87-E675865BF355}"/>
                </a:ext>
              </a:extLst>
            </p:cNvPr>
            <p:cNvSpPr/>
            <p:nvPr userDrawn="1"/>
          </p:nvSpPr>
          <p:spPr bwMode="auto">
            <a:xfrm>
              <a:off x="1598965" y="1626535"/>
              <a:ext cx="8267908" cy="4263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solidFill>
              <a:schemeClr val="bg1"/>
            </a:solid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55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C66E1062-ADE7-46B7-B70B-13AAF975DB8E}"/>
              </a:ext>
            </a:extLst>
          </p:cNvPr>
          <p:cNvGrpSpPr/>
          <p:nvPr/>
        </p:nvGrpSpPr>
        <p:grpSpPr>
          <a:xfrm>
            <a:off x="68730" y="4000956"/>
            <a:ext cx="1426688" cy="700747"/>
            <a:chOff x="65242" y="4000957"/>
            <a:chExt cx="1426688" cy="700747"/>
          </a:xfrm>
        </p:grpSpPr>
        <p:sp>
          <p:nvSpPr>
            <p:cNvPr id="71" name="TextBox 70">
              <a:extLst>
                <a:ext uri="{FF2B5EF4-FFF2-40B4-BE49-F238E27FC236}">
                  <a16:creationId xmlns:a16="http://schemas.microsoft.com/office/drawing/2014/main" id="{A75807FF-8E5D-41F1-9F3F-792FD8D38D6A}"/>
                </a:ext>
              </a:extLst>
            </p:cNvPr>
            <p:cNvSpPr txBox="1"/>
            <p:nvPr/>
          </p:nvSpPr>
          <p:spPr>
            <a:xfrm>
              <a:off x="65242" y="4401622"/>
              <a:ext cx="1426688" cy="300082"/>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675"/>
                <a:t>BUSINESS / CUSTOM APPS</a:t>
              </a:r>
            </a:p>
            <a:p>
              <a:r>
                <a:rPr lang="en-US" sz="675"/>
                <a:t>(STRUCTURED)</a:t>
              </a:r>
            </a:p>
          </p:txBody>
        </p:sp>
        <p:grpSp>
          <p:nvGrpSpPr>
            <p:cNvPr id="72" name="Group 71">
              <a:extLst>
                <a:ext uri="{FF2B5EF4-FFF2-40B4-BE49-F238E27FC236}">
                  <a16:creationId xmlns:a16="http://schemas.microsoft.com/office/drawing/2014/main" id="{AF3F6C57-7E2E-4648-AB6C-0FEB5EB3CC52}"/>
                </a:ext>
              </a:extLst>
            </p:cNvPr>
            <p:cNvGrpSpPr/>
            <p:nvPr/>
          </p:nvGrpSpPr>
          <p:grpSpPr>
            <a:xfrm>
              <a:off x="244675" y="4000957"/>
              <a:ext cx="1067822" cy="398972"/>
              <a:chOff x="94228" y="4054674"/>
              <a:chExt cx="1327848" cy="496126"/>
            </a:xfrm>
          </p:grpSpPr>
          <p:grpSp>
            <p:nvGrpSpPr>
              <p:cNvPr id="73" name="Group 72">
                <a:extLst>
                  <a:ext uri="{FF2B5EF4-FFF2-40B4-BE49-F238E27FC236}">
                    <a16:creationId xmlns:a16="http://schemas.microsoft.com/office/drawing/2014/main" id="{BCEDBBB4-4679-4BC9-8706-8C6773E59669}"/>
                  </a:ext>
                </a:extLst>
              </p:cNvPr>
              <p:cNvGrpSpPr/>
              <p:nvPr/>
            </p:nvGrpSpPr>
            <p:grpSpPr>
              <a:xfrm>
                <a:off x="94228" y="4054674"/>
                <a:ext cx="565043" cy="490322"/>
                <a:chOff x="582887" y="2608468"/>
                <a:chExt cx="565043" cy="490322"/>
              </a:xfrm>
            </p:grpSpPr>
            <p:grpSp>
              <p:nvGrpSpPr>
                <p:cNvPr id="124" name="Group 123">
                  <a:extLst>
                    <a:ext uri="{FF2B5EF4-FFF2-40B4-BE49-F238E27FC236}">
                      <a16:creationId xmlns:a16="http://schemas.microsoft.com/office/drawing/2014/main" id="{E8C4AA01-E6AC-43FC-9155-B4295DB24C41}"/>
                    </a:ext>
                  </a:extLst>
                </p:cNvPr>
                <p:cNvGrpSpPr/>
                <p:nvPr/>
              </p:nvGrpSpPr>
              <p:grpSpPr>
                <a:xfrm>
                  <a:off x="582887" y="2608468"/>
                  <a:ext cx="565043" cy="490322"/>
                  <a:chOff x="-2759707" y="1099472"/>
                  <a:chExt cx="7926138" cy="6799719"/>
                </a:xfrm>
              </p:grpSpPr>
              <p:sp>
                <p:nvSpPr>
                  <p:cNvPr id="129" name="Rectangle 317">
                    <a:extLst>
                      <a:ext uri="{FF2B5EF4-FFF2-40B4-BE49-F238E27FC236}">
                        <a16:creationId xmlns:a16="http://schemas.microsoft.com/office/drawing/2014/main" id="{7F01DE84-FDAB-466D-9B5A-8B95057D7BB6}"/>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30" name="Rounded Rectangle 439">
                    <a:extLst>
                      <a:ext uri="{FF2B5EF4-FFF2-40B4-BE49-F238E27FC236}">
                        <a16:creationId xmlns:a16="http://schemas.microsoft.com/office/drawing/2014/main" id="{9B64A5DF-7781-4B95-82CF-FFDDC6423C46}"/>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a:extLst>
                      <a:ext uri="{FF2B5EF4-FFF2-40B4-BE49-F238E27FC236}">
                        <a16:creationId xmlns:a16="http://schemas.microsoft.com/office/drawing/2014/main" id="{CB5B4569-7598-45E4-AF37-9B4B83CF8E9B}"/>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a:extLst>
                      <a:ext uri="{FF2B5EF4-FFF2-40B4-BE49-F238E27FC236}">
                        <a16:creationId xmlns:a16="http://schemas.microsoft.com/office/drawing/2014/main" id="{D4F8FDDB-0DAF-4644-B02F-AEE5E852B9B2}"/>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5" name="Freeform 5">
                  <a:extLst>
                    <a:ext uri="{FF2B5EF4-FFF2-40B4-BE49-F238E27FC236}">
                      <a16:creationId xmlns:a16="http://schemas.microsoft.com/office/drawing/2014/main" id="{904E02AC-77B0-4DAE-A328-22C7C972CC9F}"/>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671916" rtl="0" eaLnBrk="1" fontAlgn="auto" latinLnBrk="0" hangingPunct="1">
                    <a:lnSpc>
                      <a:spcPct val="100000"/>
                    </a:lnSpc>
                    <a:spcBef>
                      <a:spcPts val="0"/>
                    </a:spcBef>
                    <a:spcAft>
                      <a:spcPts val="0"/>
                    </a:spcAft>
                    <a:buClrTx/>
                    <a:buSzTx/>
                    <a:buFontTx/>
                    <a:buNone/>
                    <a:tabLst/>
                    <a:defRPr/>
                  </a:pPr>
                  <a:endParaRPr kumimoji="0" lang="en-US" sz="707"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6" name="Rectangle 6">
                  <a:extLst>
                    <a:ext uri="{FF2B5EF4-FFF2-40B4-BE49-F238E27FC236}">
                      <a16:creationId xmlns:a16="http://schemas.microsoft.com/office/drawing/2014/main" id="{3AE086EF-F3DB-4C16-B17B-C6D46929D99E}"/>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671916" rtl="0" eaLnBrk="1" fontAlgn="auto" latinLnBrk="0" hangingPunct="1">
                    <a:lnSpc>
                      <a:spcPct val="100000"/>
                    </a:lnSpc>
                    <a:spcBef>
                      <a:spcPts val="0"/>
                    </a:spcBef>
                    <a:spcAft>
                      <a:spcPts val="0"/>
                    </a:spcAft>
                    <a:buClrTx/>
                    <a:buSzTx/>
                    <a:buFontTx/>
                    <a:buNone/>
                    <a:tabLst/>
                    <a:defRPr/>
                  </a:pPr>
                  <a:endParaRPr kumimoji="0" lang="en-US" sz="707"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7" name="Rectangle 7">
                  <a:extLst>
                    <a:ext uri="{FF2B5EF4-FFF2-40B4-BE49-F238E27FC236}">
                      <a16:creationId xmlns:a16="http://schemas.microsoft.com/office/drawing/2014/main" id="{D03354BB-5C37-4D7F-9F98-412CB7D94E43}"/>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671916" rtl="0" eaLnBrk="1" fontAlgn="auto" latinLnBrk="0" hangingPunct="1">
                    <a:lnSpc>
                      <a:spcPct val="100000"/>
                    </a:lnSpc>
                    <a:spcBef>
                      <a:spcPts val="0"/>
                    </a:spcBef>
                    <a:spcAft>
                      <a:spcPts val="0"/>
                    </a:spcAft>
                    <a:buClrTx/>
                    <a:buSzTx/>
                    <a:buFontTx/>
                    <a:buNone/>
                    <a:tabLst/>
                    <a:defRPr/>
                  </a:pPr>
                  <a:endParaRPr kumimoji="0" lang="en-US" sz="707" b="0" i="0" u="none" strike="noStrike" kern="0" cap="none" spc="0" normalizeH="0" baseline="0" noProof="0">
                    <a:ln>
                      <a:noFill/>
                    </a:ln>
                    <a:solidFill>
                      <a:srgbClr val="505050"/>
                    </a:solidFill>
                    <a:effectLst/>
                    <a:uLnTx/>
                    <a:uFillTx/>
                    <a:latin typeface="Segoe UI Semilight"/>
                    <a:ea typeface="+mn-ea"/>
                    <a:cs typeface="+mn-cs"/>
                  </a:endParaRPr>
                </a:p>
              </p:txBody>
            </p:sp>
            <p:sp>
              <p:nvSpPr>
                <p:cNvPr id="128" name="Rectangle 8">
                  <a:extLst>
                    <a:ext uri="{FF2B5EF4-FFF2-40B4-BE49-F238E27FC236}">
                      <a16:creationId xmlns:a16="http://schemas.microsoft.com/office/drawing/2014/main" id="{A64AFF5B-2500-4D7E-8A56-D3933FF3EFBD}"/>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p:spPr>
              <p:txBody>
                <a:bodyPr vert="horz" wrap="square" lIns="72421" tIns="36211" rIns="72421" bIns="36211" numCol="1" anchor="t" anchorCtr="0" compatLnSpc="1">
                  <a:prstTxWarp prst="textNoShape">
                    <a:avLst/>
                  </a:prstTxWarp>
                </a:bodyPr>
                <a:lstStyle/>
                <a:p>
                  <a:pPr marL="0" marR="0" lvl="0" indent="0" algn="l" defTabSz="671916" rtl="0" eaLnBrk="1" fontAlgn="auto" latinLnBrk="0" hangingPunct="1">
                    <a:lnSpc>
                      <a:spcPct val="100000"/>
                    </a:lnSpc>
                    <a:spcBef>
                      <a:spcPts val="0"/>
                    </a:spcBef>
                    <a:spcAft>
                      <a:spcPts val="0"/>
                    </a:spcAft>
                    <a:buClrTx/>
                    <a:buSzTx/>
                    <a:buFontTx/>
                    <a:buNone/>
                    <a:tabLst/>
                    <a:defRPr/>
                  </a:pPr>
                  <a:endParaRPr kumimoji="0" lang="en-US" sz="707"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74" name="Group 73">
                <a:extLst>
                  <a:ext uri="{FF2B5EF4-FFF2-40B4-BE49-F238E27FC236}">
                    <a16:creationId xmlns:a16="http://schemas.microsoft.com/office/drawing/2014/main" id="{BAA889A6-7185-42EB-A6A4-07731E564DB2}"/>
                  </a:ext>
                </a:extLst>
              </p:cNvPr>
              <p:cNvGrpSpPr/>
              <p:nvPr/>
            </p:nvGrpSpPr>
            <p:grpSpPr>
              <a:xfrm>
                <a:off x="833546" y="4054674"/>
                <a:ext cx="588530" cy="496126"/>
                <a:chOff x="493618" y="3055549"/>
                <a:chExt cx="716256" cy="603797"/>
              </a:xfrm>
            </p:grpSpPr>
            <p:grpSp>
              <p:nvGrpSpPr>
                <p:cNvPr id="75" name="Group 74">
                  <a:extLst>
                    <a:ext uri="{FF2B5EF4-FFF2-40B4-BE49-F238E27FC236}">
                      <a16:creationId xmlns:a16="http://schemas.microsoft.com/office/drawing/2014/main" id="{3FF659FC-5AE0-4A4D-A124-EB0E7A97EAC2}"/>
                    </a:ext>
                  </a:extLst>
                </p:cNvPr>
                <p:cNvGrpSpPr/>
                <p:nvPr/>
              </p:nvGrpSpPr>
              <p:grpSpPr>
                <a:xfrm>
                  <a:off x="796699" y="3403695"/>
                  <a:ext cx="413175" cy="253655"/>
                  <a:chOff x="-655566" y="3895060"/>
                  <a:chExt cx="761727" cy="430956"/>
                </a:xfrm>
              </p:grpSpPr>
              <p:grpSp>
                <p:nvGrpSpPr>
                  <p:cNvPr id="108" name="Group 107">
                    <a:extLst>
                      <a:ext uri="{FF2B5EF4-FFF2-40B4-BE49-F238E27FC236}">
                        <a16:creationId xmlns:a16="http://schemas.microsoft.com/office/drawing/2014/main" id="{934B29E9-8B95-48CE-A7B4-0BE5A330C921}"/>
                      </a:ext>
                    </a:extLst>
                  </p:cNvPr>
                  <p:cNvGrpSpPr/>
                  <p:nvPr/>
                </p:nvGrpSpPr>
                <p:grpSpPr>
                  <a:xfrm>
                    <a:off x="-655566" y="3895060"/>
                    <a:ext cx="761727" cy="430956"/>
                    <a:chOff x="10867216" y="6204939"/>
                    <a:chExt cx="791499" cy="447800"/>
                  </a:xfrm>
                </p:grpSpPr>
                <p:sp>
                  <p:nvSpPr>
                    <p:cNvPr id="117" name="Round Same Side Corner Rectangle 206">
                      <a:extLst>
                        <a:ext uri="{FF2B5EF4-FFF2-40B4-BE49-F238E27FC236}">
                          <a16:creationId xmlns:a16="http://schemas.microsoft.com/office/drawing/2014/main" id="{275A00CF-DBCC-4E0A-BE9F-EE395EE74244}"/>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118" name="Group 117">
                      <a:extLst>
                        <a:ext uri="{FF2B5EF4-FFF2-40B4-BE49-F238E27FC236}">
                          <a16:creationId xmlns:a16="http://schemas.microsoft.com/office/drawing/2014/main" id="{92339519-F7A5-4521-BEA1-B1ECF31F6C13}"/>
                        </a:ext>
                      </a:extLst>
                    </p:cNvPr>
                    <p:cNvGrpSpPr/>
                    <p:nvPr/>
                  </p:nvGrpSpPr>
                  <p:grpSpPr>
                    <a:xfrm>
                      <a:off x="10924674" y="6204939"/>
                      <a:ext cx="676584" cy="420187"/>
                      <a:chOff x="10924674" y="6204939"/>
                      <a:chExt cx="676584" cy="420187"/>
                    </a:xfrm>
                  </p:grpSpPr>
                  <p:grpSp>
                    <p:nvGrpSpPr>
                      <p:cNvPr id="120" name="Group 119">
                        <a:extLst>
                          <a:ext uri="{FF2B5EF4-FFF2-40B4-BE49-F238E27FC236}">
                            <a16:creationId xmlns:a16="http://schemas.microsoft.com/office/drawing/2014/main" id="{3B343D5D-DE3C-44D6-9B7F-DED56B2411BF}"/>
                          </a:ext>
                        </a:extLst>
                      </p:cNvPr>
                      <p:cNvGrpSpPr/>
                      <p:nvPr/>
                    </p:nvGrpSpPr>
                    <p:grpSpPr>
                      <a:xfrm>
                        <a:off x="10924674" y="6204939"/>
                        <a:ext cx="676584" cy="406447"/>
                        <a:chOff x="15402433" y="3770727"/>
                        <a:chExt cx="3379343" cy="2030084"/>
                      </a:xfrm>
                    </p:grpSpPr>
                    <p:sp>
                      <p:nvSpPr>
                        <p:cNvPr id="122" name="Round Same Side Corner Rectangle 211">
                          <a:extLst>
                            <a:ext uri="{FF2B5EF4-FFF2-40B4-BE49-F238E27FC236}">
                              <a16:creationId xmlns:a16="http://schemas.microsoft.com/office/drawing/2014/main" id="{8F1906D8-F67B-4125-9D33-4BD3DF0F3466}"/>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5AB054F-139B-43D7-B57D-1677636736FF}"/>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1" name="Round Same Side Corner Rectangle 210">
                        <a:extLst>
                          <a:ext uri="{FF2B5EF4-FFF2-40B4-BE49-F238E27FC236}">
                            <a16:creationId xmlns:a16="http://schemas.microsoft.com/office/drawing/2014/main" id="{753B7E6E-F44C-406A-9130-151462E3075B}"/>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ound Same Side Corner Rectangle 139">
                      <a:extLst>
                        <a:ext uri="{FF2B5EF4-FFF2-40B4-BE49-F238E27FC236}">
                          <a16:creationId xmlns:a16="http://schemas.microsoft.com/office/drawing/2014/main" id="{4DEEA65C-BD95-4337-B959-BE444218E20A}"/>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9" name="Group 108">
                    <a:extLst>
                      <a:ext uri="{FF2B5EF4-FFF2-40B4-BE49-F238E27FC236}">
                        <a16:creationId xmlns:a16="http://schemas.microsoft.com/office/drawing/2014/main" id="{00881512-DD8D-4F44-A8BA-39169A95E73A}"/>
                      </a:ext>
                    </a:extLst>
                  </p:cNvPr>
                  <p:cNvGrpSpPr/>
                  <p:nvPr/>
                </p:nvGrpSpPr>
                <p:grpSpPr>
                  <a:xfrm>
                    <a:off x="-571796" y="3917872"/>
                    <a:ext cx="588901" cy="343249"/>
                    <a:chOff x="11780774" y="6292409"/>
                    <a:chExt cx="518383" cy="373899"/>
                  </a:xfrm>
                </p:grpSpPr>
                <p:sp>
                  <p:nvSpPr>
                    <p:cNvPr id="110" name="Rectangle 109">
                      <a:extLst>
                        <a:ext uri="{FF2B5EF4-FFF2-40B4-BE49-F238E27FC236}">
                          <a16:creationId xmlns:a16="http://schemas.microsoft.com/office/drawing/2014/main" id="{84E4F26A-D27A-476B-AC5B-70BC6FDD1001}"/>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a:extLst>
                        <a:ext uri="{FF2B5EF4-FFF2-40B4-BE49-F238E27FC236}">
                          <a16:creationId xmlns:a16="http://schemas.microsoft.com/office/drawing/2014/main" id="{AABAE7F4-CDAD-47AA-B9B6-83A3F6E1FAC1}"/>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a:extLst>
                        <a:ext uri="{FF2B5EF4-FFF2-40B4-BE49-F238E27FC236}">
                          <a16:creationId xmlns:a16="http://schemas.microsoft.com/office/drawing/2014/main" id="{C64DA487-914E-41DD-9F8D-42106DA8169C}"/>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a:extLst>
                        <a:ext uri="{FF2B5EF4-FFF2-40B4-BE49-F238E27FC236}">
                          <a16:creationId xmlns:a16="http://schemas.microsoft.com/office/drawing/2014/main" id="{6B9CBE80-2D86-4E9E-A80A-5747F9E4F8BD}"/>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14" name="Rounded Rectangle 203">
                      <a:extLst>
                        <a:ext uri="{FF2B5EF4-FFF2-40B4-BE49-F238E27FC236}">
                          <a16:creationId xmlns:a16="http://schemas.microsoft.com/office/drawing/2014/main" id="{19E662DB-AABF-483F-A00E-B7F1193FA5A3}"/>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15" name="Rounded Rectangle 204">
                      <a:extLst>
                        <a:ext uri="{FF2B5EF4-FFF2-40B4-BE49-F238E27FC236}">
                          <a16:creationId xmlns:a16="http://schemas.microsoft.com/office/drawing/2014/main" id="{8BDDFCC7-89E3-4F41-A341-03A5352EF11B}"/>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16" name="Rounded Rectangle 205">
                      <a:extLst>
                        <a:ext uri="{FF2B5EF4-FFF2-40B4-BE49-F238E27FC236}">
                          <a16:creationId xmlns:a16="http://schemas.microsoft.com/office/drawing/2014/main" id="{AEA14564-4D4E-4681-A21E-CFE08CC65E73}"/>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6" name="Group 75">
                  <a:extLst>
                    <a:ext uri="{FF2B5EF4-FFF2-40B4-BE49-F238E27FC236}">
                      <a16:creationId xmlns:a16="http://schemas.microsoft.com/office/drawing/2014/main" id="{1CD2AF38-00C9-40E4-93AA-126D65D2A488}"/>
                    </a:ext>
                  </a:extLst>
                </p:cNvPr>
                <p:cNvGrpSpPr/>
                <p:nvPr/>
              </p:nvGrpSpPr>
              <p:grpSpPr>
                <a:xfrm>
                  <a:off x="959876" y="3055549"/>
                  <a:ext cx="217476" cy="328226"/>
                  <a:chOff x="-296232" y="3492549"/>
                  <a:chExt cx="211588" cy="319338"/>
                </a:xfrm>
              </p:grpSpPr>
              <p:sp>
                <p:nvSpPr>
                  <p:cNvPr id="98" name="Rounded Rectangle 182">
                    <a:extLst>
                      <a:ext uri="{FF2B5EF4-FFF2-40B4-BE49-F238E27FC236}">
                        <a16:creationId xmlns:a16="http://schemas.microsoft.com/office/drawing/2014/main" id="{353CA0AA-F920-4D16-B820-957EE504DA56}"/>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698753" fontAlgn="base">
                      <a:spcBef>
                        <a:spcPct val="0"/>
                      </a:spcBef>
                      <a:spcAft>
                        <a:spcPct val="0"/>
                      </a:spcAft>
                    </a:pPr>
                    <a:endParaRPr lang="en-US" sz="1376" kern="0" spc="-39">
                      <a:gradFill>
                        <a:gsLst>
                          <a:gs pos="0">
                            <a:srgbClr val="FFFFFF"/>
                          </a:gs>
                          <a:gs pos="100000">
                            <a:srgbClr val="FFFFFF"/>
                          </a:gs>
                        </a:gsLst>
                        <a:lin ang="5400000" scaled="0"/>
                      </a:gradFill>
                      <a:ea typeface="Segoe UI" pitchFamily="34" charset="0"/>
                      <a:cs typeface="Segoe UI" pitchFamily="34" charset="0"/>
                    </a:endParaRPr>
                  </a:p>
                </p:txBody>
              </p:sp>
              <p:sp>
                <p:nvSpPr>
                  <p:cNvPr id="99" name="Oval 98">
                    <a:extLst>
                      <a:ext uri="{FF2B5EF4-FFF2-40B4-BE49-F238E27FC236}">
                        <a16:creationId xmlns:a16="http://schemas.microsoft.com/office/drawing/2014/main" id="{72BF7F0F-D1EF-41A3-BFFA-DC1E08744E4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00" name="Rounded Rectangle 184">
                    <a:extLst>
                      <a:ext uri="{FF2B5EF4-FFF2-40B4-BE49-F238E27FC236}">
                        <a16:creationId xmlns:a16="http://schemas.microsoft.com/office/drawing/2014/main" id="{B38B489C-6AA9-4E3A-9005-8C7B03348AF6}"/>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nvGrpSpPr>
                  <p:cNvPr id="101" name="Group 100">
                    <a:extLst>
                      <a:ext uri="{FF2B5EF4-FFF2-40B4-BE49-F238E27FC236}">
                        <a16:creationId xmlns:a16="http://schemas.microsoft.com/office/drawing/2014/main" id="{0F0D0D70-7A5E-4B49-A635-DEDE470B911A}"/>
                      </a:ext>
                    </a:extLst>
                  </p:cNvPr>
                  <p:cNvGrpSpPr/>
                  <p:nvPr/>
                </p:nvGrpSpPr>
                <p:grpSpPr>
                  <a:xfrm>
                    <a:off x="-267082" y="3531358"/>
                    <a:ext cx="152122" cy="225695"/>
                    <a:chOff x="11279466" y="5630123"/>
                    <a:chExt cx="137117" cy="225695"/>
                  </a:xfrm>
                </p:grpSpPr>
                <p:sp>
                  <p:nvSpPr>
                    <p:cNvPr id="102" name="Rectangle 101">
                      <a:extLst>
                        <a:ext uri="{FF2B5EF4-FFF2-40B4-BE49-F238E27FC236}">
                          <a16:creationId xmlns:a16="http://schemas.microsoft.com/office/drawing/2014/main" id="{6CCD337D-96FE-4EF5-A555-FFA1B14533F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F7721484-E55D-4950-A016-21E55EEA65AE}"/>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4" name="Rounded Rectangle 195">
                      <a:extLst>
                        <a:ext uri="{FF2B5EF4-FFF2-40B4-BE49-F238E27FC236}">
                          <a16:creationId xmlns:a16="http://schemas.microsoft.com/office/drawing/2014/main" id="{1EEB711B-CFD5-4BA8-9780-C75A114A7FC5}"/>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5" name="Rounded Rectangle 196">
                      <a:extLst>
                        <a:ext uri="{FF2B5EF4-FFF2-40B4-BE49-F238E27FC236}">
                          <a16:creationId xmlns:a16="http://schemas.microsoft.com/office/drawing/2014/main" id="{33E5137D-AF6D-4992-9D3C-F36A5974861C}"/>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6" name="Rounded Rectangle 197">
                      <a:extLst>
                        <a:ext uri="{FF2B5EF4-FFF2-40B4-BE49-F238E27FC236}">
                          <a16:creationId xmlns:a16="http://schemas.microsoft.com/office/drawing/2014/main" id="{A40226AD-2E59-4F78-A33C-65EB2F67468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7" name="Rounded Rectangle 198">
                      <a:extLst>
                        <a:ext uri="{FF2B5EF4-FFF2-40B4-BE49-F238E27FC236}">
                          <a16:creationId xmlns:a16="http://schemas.microsoft.com/office/drawing/2014/main" id="{8446E43C-FA11-47E4-AFC6-C2A0F1421E1C}"/>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 name="Group 76">
                  <a:extLst>
                    <a:ext uri="{FF2B5EF4-FFF2-40B4-BE49-F238E27FC236}">
                      <a16:creationId xmlns:a16="http://schemas.microsoft.com/office/drawing/2014/main" id="{ACD4AA61-1250-4DD4-9415-3AA186F44192}"/>
                    </a:ext>
                  </a:extLst>
                </p:cNvPr>
                <p:cNvGrpSpPr/>
                <p:nvPr/>
              </p:nvGrpSpPr>
              <p:grpSpPr>
                <a:xfrm>
                  <a:off x="505834" y="3069727"/>
                  <a:ext cx="408640" cy="294744"/>
                  <a:chOff x="505834" y="3069727"/>
                  <a:chExt cx="408640" cy="294744"/>
                </a:xfrm>
              </p:grpSpPr>
              <p:sp>
                <p:nvSpPr>
                  <p:cNvPr id="91" name="Rectangle 90">
                    <a:extLst>
                      <a:ext uri="{FF2B5EF4-FFF2-40B4-BE49-F238E27FC236}">
                        <a16:creationId xmlns:a16="http://schemas.microsoft.com/office/drawing/2014/main" id="{9945BB36-3489-40EC-8247-DDF97DA03624}"/>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9F31B47F-F9E9-44FD-B1EB-20833FDE52ED}"/>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a:extLst>
                      <a:ext uri="{FF2B5EF4-FFF2-40B4-BE49-F238E27FC236}">
                        <a16:creationId xmlns:a16="http://schemas.microsoft.com/office/drawing/2014/main" id="{2D843CC2-2E08-495A-9826-1E59A816AC29}"/>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77DDFF54-4F49-4234-A877-D87D1BF1BBDB}"/>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5" name="Rounded Rectangle 176">
                    <a:extLst>
                      <a:ext uri="{FF2B5EF4-FFF2-40B4-BE49-F238E27FC236}">
                        <a16:creationId xmlns:a16="http://schemas.microsoft.com/office/drawing/2014/main" id="{7C3FA5C8-DEA2-4713-8780-72F945F4B01F}"/>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6" name="Rounded Rectangle 177">
                    <a:extLst>
                      <a:ext uri="{FF2B5EF4-FFF2-40B4-BE49-F238E27FC236}">
                        <a16:creationId xmlns:a16="http://schemas.microsoft.com/office/drawing/2014/main" id="{3DC9982D-972B-4F58-A1AA-309CD605D51E}"/>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7" name="Rounded Rectangle 178">
                    <a:extLst>
                      <a:ext uri="{FF2B5EF4-FFF2-40B4-BE49-F238E27FC236}">
                        <a16:creationId xmlns:a16="http://schemas.microsoft.com/office/drawing/2014/main" id="{1CCB6636-2F46-46C1-ADA5-048086ED92D8}"/>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Freeform 179">
                  <a:extLst>
                    <a:ext uri="{FF2B5EF4-FFF2-40B4-BE49-F238E27FC236}">
                      <a16:creationId xmlns:a16="http://schemas.microsoft.com/office/drawing/2014/main" id="{D6CD3A83-3EB5-4D43-A721-B518AC255294}"/>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79" name="Group 78">
                  <a:extLst>
                    <a:ext uri="{FF2B5EF4-FFF2-40B4-BE49-F238E27FC236}">
                      <a16:creationId xmlns:a16="http://schemas.microsoft.com/office/drawing/2014/main" id="{88ADFDCF-7E99-477A-9B32-EE0E746947C2}"/>
                    </a:ext>
                  </a:extLst>
                </p:cNvPr>
                <p:cNvGrpSpPr/>
                <p:nvPr/>
              </p:nvGrpSpPr>
              <p:grpSpPr>
                <a:xfrm>
                  <a:off x="501923" y="3414781"/>
                  <a:ext cx="268776" cy="244565"/>
                  <a:chOff x="501923" y="3414781"/>
                  <a:chExt cx="268776" cy="244565"/>
                </a:xfrm>
              </p:grpSpPr>
              <p:sp>
                <p:nvSpPr>
                  <p:cNvPr id="80" name="Rounded Rectangle 182">
                    <a:extLst>
                      <a:ext uri="{FF2B5EF4-FFF2-40B4-BE49-F238E27FC236}">
                        <a16:creationId xmlns:a16="http://schemas.microsoft.com/office/drawing/2014/main" id="{38A7DB43-54B8-4D4B-89D3-1401F2CCD557}"/>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698753" fontAlgn="base">
                      <a:spcBef>
                        <a:spcPct val="0"/>
                      </a:spcBef>
                      <a:spcAft>
                        <a:spcPct val="0"/>
                      </a:spcAft>
                    </a:pPr>
                    <a:endParaRPr lang="en-US" sz="1376" kern="0" spc="-39">
                      <a:gradFill>
                        <a:gsLst>
                          <a:gs pos="0">
                            <a:srgbClr val="FFFFFF"/>
                          </a:gs>
                          <a:gs pos="100000">
                            <a:srgbClr val="FFFFFF"/>
                          </a:gs>
                        </a:gsLst>
                        <a:lin ang="5400000" scaled="0"/>
                      </a:gradFill>
                      <a:ea typeface="Segoe UI" pitchFamily="34" charset="0"/>
                      <a:cs typeface="Segoe UI" pitchFamily="34" charset="0"/>
                    </a:endParaRPr>
                  </a:p>
                </p:txBody>
              </p:sp>
              <p:sp>
                <p:nvSpPr>
                  <p:cNvPr id="81" name="Oval 80">
                    <a:extLst>
                      <a:ext uri="{FF2B5EF4-FFF2-40B4-BE49-F238E27FC236}">
                        <a16:creationId xmlns:a16="http://schemas.microsoft.com/office/drawing/2014/main" id="{43A0F126-2481-4026-A382-75184F3C350A}"/>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2" name="Rounded Rectangle 184">
                    <a:extLst>
                      <a:ext uri="{FF2B5EF4-FFF2-40B4-BE49-F238E27FC236}">
                        <a16:creationId xmlns:a16="http://schemas.microsoft.com/office/drawing/2014/main" id="{044838B8-D535-4C44-9215-5489429F9D0F}"/>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nvGrpSpPr>
                  <p:cNvPr id="83" name="Group 82">
                    <a:extLst>
                      <a:ext uri="{FF2B5EF4-FFF2-40B4-BE49-F238E27FC236}">
                        <a16:creationId xmlns:a16="http://schemas.microsoft.com/office/drawing/2014/main" id="{BFE66E00-6812-4D33-B349-74E39AB8A667}"/>
                      </a:ext>
                    </a:extLst>
                  </p:cNvPr>
                  <p:cNvGrpSpPr/>
                  <p:nvPr/>
                </p:nvGrpSpPr>
                <p:grpSpPr>
                  <a:xfrm>
                    <a:off x="518311" y="3459175"/>
                    <a:ext cx="235999" cy="157484"/>
                    <a:chOff x="505834" y="3069727"/>
                    <a:chExt cx="408640" cy="294744"/>
                  </a:xfrm>
                </p:grpSpPr>
                <p:sp>
                  <p:nvSpPr>
                    <p:cNvPr id="84" name="Rectangle 83">
                      <a:extLst>
                        <a:ext uri="{FF2B5EF4-FFF2-40B4-BE49-F238E27FC236}">
                          <a16:creationId xmlns:a16="http://schemas.microsoft.com/office/drawing/2014/main" id="{92D33903-4F52-4173-8A17-38EC8B40DFF4}"/>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EF137C5A-2B27-4186-A98B-84BCA28A28F7}"/>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BD1040CB-8DE4-4BA4-A3AE-A29AEF800E1D}"/>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BA4FB2EE-BBD3-4C38-A87B-667C25FD3DE8}"/>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88" name="Rounded Rectangle 176">
                      <a:extLst>
                        <a:ext uri="{FF2B5EF4-FFF2-40B4-BE49-F238E27FC236}">
                          <a16:creationId xmlns:a16="http://schemas.microsoft.com/office/drawing/2014/main" id="{D2E855E7-DAD0-452B-AE22-F91834686AEC}"/>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89" name="Rounded Rectangle 177">
                      <a:extLst>
                        <a:ext uri="{FF2B5EF4-FFF2-40B4-BE49-F238E27FC236}">
                          <a16:creationId xmlns:a16="http://schemas.microsoft.com/office/drawing/2014/main" id="{38F91E08-F731-4D18-9680-4A42C3224DC1}"/>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0" name="Rounded Rectangle 178">
                      <a:extLst>
                        <a:ext uri="{FF2B5EF4-FFF2-40B4-BE49-F238E27FC236}">
                          <a16:creationId xmlns:a16="http://schemas.microsoft.com/office/drawing/2014/main" id="{0E2E8C9B-208E-4C1F-B548-8B25A908E712}"/>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100"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133" name="Group 132">
            <a:extLst>
              <a:ext uri="{FF2B5EF4-FFF2-40B4-BE49-F238E27FC236}">
                <a16:creationId xmlns:a16="http://schemas.microsoft.com/office/drawing/2014/main" id="{4C277BFE-17D6-4B62-B59A-58125029FD2A}"/>
              </a:ext>
            </a:extLst>
          </p:cNvPr>
          <p:cNvGrpSpPr/>
          <p:nvPr/>
        </p:nvGrpSpPr>
        <p:grpSpPr>
          <a:xfrm>
            <a:off x="44538" y="2331675"/>
            <a:ext cx="1475072" cy="658690"/>
            <a:chOff x="-36576" y="2104220"/>
            <a:chExt cx="1475072" cy="658691"/>
          </a:xfrm>
        </p:grpSpPr>
        <p:sp>
          <p:nvSpPr>
            <p:cNvPr id="134" name="TextBox 133">
              <a:extLst>
                <a:ext uri="{FF2B5EF4-FFF2-40B4-BE49-F238E27FC236}">
                  <a16:creationId xmlns:a16="http://schemas.microsoft.com/office/drawing/2014/main" id="{456A2FB8-5984-47FA-9591-42F6084B50DB}"/>
                </a:ext>
              </a:extLst>
            </p:cNvPr>
            <p:cNvSpPr txBox="1"/>
            <p:nvPr/>
          </p:nvSpPr>
          <p:spPr>
            <a:xfrm>
              <a:off x="-36576" y="2462828"/>
              <a:ext cx="1475072" cy="30008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675"/>
                <a:t>LOGS, FILES AND MEDIA</a:t>
              </a:r>
              <a:br>
                <a:rPr lang="en-US" sz="675"/>
              </a:br>
              <a:r>
                <a:rPr lang="en-US" sz="675"/>
                <a:t>(UNSTRUCTURED)</a:t>
              </a:r>
            </a:p>
          </p:txBody>
        </p:sp>
        <p:grpSp>
          <p:nvGrpSpPr>
            <p:cNvPr id="135" name="Group 134">
              <a:extLst>
                <a:ext uri="{FF2B5EF4-FFF2-40B4-BE49-F238E27FC236}">
                  <a16:creationId xmlns:a16="http://schemas.microsoft.com/office/drawing/2014/main" id="{F95B2E3F-C483-467C-8824-F8115AE87F00}"/>
                </a:ext>
              </a:extLst>
            </p:cNvPr>
            <p:cNvGrpSpPr/>
            <p:nvPr/>
          </p:nvGrpSpPr>
          <p:grpSpPr>
            <a:xfrm>
              <a:off x="130992" y="2104220"/>
              <a:ext cx="1139936" cy="311980"/>
              <a:chOff x="149010" y="2104220"/>
              <a:chExt cx="1139936" cy="311980"/>
            </a:xfrm>
          </p:grpSpPr>
          <p:pic>
            <p:nvPicPr>
              <p:cNvPr id="136" name="Graphic 135">
                <a:extLst>
                  <a:ext uri="{FF2B5EF4-FFF2-40B4-BE49-F238E27FC236}">
                    <a16:creationId xmlns:a16="http://schemas.microsoft.com/office/drawing/2014/main" id="{DCF3282B-AE9E-445D-B109-B07C17E019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137" name="Freeform: Shape 136">
                <a:extLst>
                  <a:ext uri="{FF2B5EF4-FFF2-40B4-BE49-F238E27FC236}">
                    <a16:creationId xmlns:a16="http://schemas.microsoft.com/office/drawing/2014/main" id="{CCA33D2D-BA3C-4DF1-B452-9BFB76DA1EFD}"/>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a:t>r</a:t>
                </a:r>
              </a:p>
            </p:txBody>
          </p:sp>
          <p:pic>
            <p:nvPicPr>
              <p:cNvPr id="138" name="Picture 137">
                <a:extLst>
                  <a:ext uri="{FF2B5EF4-FFF2-40B4-BE49-F238E27FC236}">
                    <a16:creationId xmlns:a16="http://schemas.microsoft.com/office/drawing/2014/main" id="{DE814ACC-7A86-4184-BD3D-8947E67B575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2486452268"/>
      </p:ext>
    </p:extLst>
  </p:cSld>
  <p:clrMapOvr>
    <a:masterClrMapping/>
  </p:clrMapOvr>
  <p:transition>
    <p:fade/>
  </p:transition>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7_Title with photo and til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49A8CA9-2081-4CC9-82CD-8FB7FCBE526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191997" cy="6858000"/>
          </a:xfrm>
          <a:prstGeom prst="rect">
            <a:avLst/>
          </a:prstGeom>
        </p:spPr>
      </p:pic>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9C2A788-9875-4AA6-B7F8-55FD06DD2BBC}"/>
              </a:ext>
            </a:extLst>
          </p:cNvPr>
          <p:cNvSpPr/>
          <p:nvPr userDrawn="1"/>
        </p:nvSpPr>
        <p:spPr bwMode="auto">
          <a:xfrm>
            <a:off x="0" y="0"/>
            <a:ext cx="12192000" cy="6858000"/>
          </a:xfrm>
          <a:prstGeom prst="rect">
            <a:avLst/>
          </a:prstGeom>
          <a:gradFill>
            <a:gsLst>
              <a:gs pos="32000">
                <a:schemeClr val="tx1">
                  <a:lumMod val="50000"/>
                  <a:alpha val="82000"/>
                </a:schemeClr>
              </a:gs>
              <a:gs pos="100000">
                <a:schemeClr val="tx1">
                  <a:alpha val="0"/>
                </a:schemeClr>
              </a:gs>
            </a:gsLst>
            <a:lin ang="0" scaled="0"/>
          </a:gradFill>
        </p:spPr>
        <p:txBody>
          <a:bodyPr vert="horz" wrap="square" lIns="470556" tIns="537779" rIns="100834" bIns="806669" rtlCol="0" anchor="t" anchorCtr="0">
            <a:noAutofit/>
          </a:bodyPr>
          <a:lstStyle/>
          <a:p>
            <a:pPr lvl="0">
              <a:lnSpc>
                <a:spcPct val="90000"/>
              </a:lnSpc>
              <a:spcBef>
                <a:spcPct val="0"/>
              </a:spcBef>
            </a:pPr>
            <a:endParaRPr lang="en-US" sz="4497" spc="-75" err="1">
              <a:ln w="3175">
                <a:noFill/>
              </a:ln>
              <a:solidFill>
                <a:srgbClr val="FFFFFF"/>
              </a:solidFill>
              <a:latin typeface="Segoe UI Light"/>
              <a:cs typeface="Segoe UI" pitchFamily="34" charset="0"/>
            </a:endParaRPr>
          </a:p>
        </p:txBody>
      </p:sp>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3529" spc="-74"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4" y="4773829"/>
            <a:ext cx="6276530" cy="466025"/>
          </a:xfrm>
        </p:spPr>
        <p:txBody>
          <a:bodyPr wrap="square" lIns="164592" tIns="109728" rIns="164592" bIns="109728">
            <a:spAutoFit/>
          </a:bodyPr>
          <a:lstStyle>
            <a:lvl1pPr marL="0" indent="0">
              <a:spcBef>
                <a:spcPts val="0"/>
              </a:spcBef>
              <a:buNone/>
              <a:defRPr sz="1765">
                <a:solidFill>
                  <a:schemeClr val="tx1"/>
                </a:solidFill>
                <a:latin typeface="+mn-lt"/>
              </a:defRPr>
            </a:lvl1pPr>
          </a:lstStyle>
          <a:p>
            <a:pPr lvl="0"/>
            <a:r>
              <a:rPr lang="en-US"/>
              <a:t>Speaker name</a:t>
            </a:r>
          </a:p>
        </p:txBody>
      </p:sp>
      <p:pic>
        <p:nvPicPr>
          <p:cNvPr id="8" name="MS logo white - EMF"/>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93996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ontent_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2000" y="73442"/>
            <a:ext cx="11044800" cy="720000"/>
          </a:xfrm>
        </p:spPr>
        <p:txBody>
          <a:bodyPr anchor="b" anchorCtr="0"/>
          <a:lstStyle>
            <a:lvl1pPr>
              <a:defRPr baseline="0">
                <a:solidFill>
                  <a:schemeClr val="tx2"/>
                </a:solidFill>
              </a:defRPr>
            </a:lvl1pPr>
          </a:lstStyle>
          <a:p>
            <a:r>
              <a:rPr lang="en-US"/>
              <a:t>Click to insert slide title</a:t>
            </a:r>
          </a:p>
        </p:txBody>
      </p:sp>
      <p:sp>
        <p:nvSpPr>
          <p:cNvPr id="6" name="Text Placeholder 5"/>
          <p:cNvSpPr>
            <a:spLocks noGrp="1"/>
          </p:cNvSpPr>
          <p:nvPr>
            <p:ph type="body" sz="quarter" idx="17"/>
          </p:nvPr>
        </p:nvSpPr>
        <p:spPr>
          <a:xfrm>
            <a:off x="552000" y="1170774"/>
            <a:ext cx="11044800" cy="1119217"/>
          </a:xfrm>
        </p:spPr>
        <p:txBody>
          <a:bodyPr/>
          <a:lstStyle/>
          <a:p>
            <a:pPr lvl="0"/>
            <a:r>
              <a:rPr lang="en-US"/>
              <a:t>Edit Master text styles</a:t>
            </a:r>
          </a:p>
          <a:p>
            <a:pPr lvl="1"/>
            <a:r>
              <a:rPr lang="en-US"/>
              <a:t>Second level</a:t>
            </a:r>
          </a:p>
          <a:p>
            <a:pPr lvl="2"/>
            <a:r>
              <a:rPr lang="en-US"/>
              <a:t>Third level</a:t>
            </a:r>
          </a:p>
        </p:txBody>
      </p:sp>
      <p:sp>
        <p:nvSpPr>
          <p:cNvPr id="7" name="Text Placeholder 12"/>
          <p:cNvSpPr>
            <a:spLocks noGrp="1"/>
          </p:cNvSpPr>
          <p:nvPr>
            <p:ph type="body" sz="quarter" idx="16" hasCustomPrompt="1"/>
          </p:nvPr>
        </p:nvSpPr>
        <p:spPr>
          <a:xfrm>
            <a:off x="551999" y="6264000"/>
            <a:ext cx="8540727" cy="432000"/>
          </a:xfrm>
          <a:prstGeom prst="rect">
            <a:avLst/>
          </a:prstGeom>
        </p:spPr>
        <p:txBody>
          <a:bodyPr>
            <a:normAutofit/>
          </a:bodyPr>
          <a:lstStyle>
            <a:lvl1pPr marL="0" indent="0">
              <a:buNone/>
              <a:defRPr sz="900"/>
            </a:lvl1pPr>
          </a:lstStyle>
          <a:p>
            <a:pPr lvl="0"/>
            <a:r>
              <a:rPr lang="en-US"/>
              <a:t>Source: Click to insert footnote or source</a:t>
            </a:r>
          </a:p>
        </p:txBody>
      </p:sp>
      <p:cxnSp>
        <p:nvCxnSpPr>
          <p:cNvPr id="10" name="Straight Connector 9"/>
          <p:cNvCxnSpPr/>
          <p:nvPr userDrawn="1"/>
        </p:nvCxnSpPr>
        <p:spPr>
          <a:xfrm>
            <a:off x="550984" y="1034710"/>
            <a:ext cx="1104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4"/>
          <p:cNvSpPr>
            <a:spLocks noGrp="1"/>
          </p:cNvSpPr>
          <p:nvPr>
            <p:ph type="body" sz="quarter" idx="13" hasCustomPrompt="1"/>
          </p:nvPr>
        </p:nvSpPr>
        <p:spPr>
          <a:xfrm>
            <a:off x="552000" y="793442"/>
            <a:ext cx="11044800" cy="270000"/>
          </a:xfrm>
          <a:prstGeom prst="rect">
            <a:avLst/>
          </a:prstGeom>
        </p:spPr>
        <p:txBody>
          <a:bodyPr tIns="0" rIns="0" bIns="0">
            <a:normAutofit/>
          </a:bodyPr>
          <a:lstStyle>
            <a:lvl1pPr marL="0" indent="0">
              <a:buNone/>
              <a:defRPr sz="1300" b="1">
                <a:solidFill>
                  <a:schemeClr val="accent1"/>
                </a:solidFill>
              </a:defRPr>
            </a:lvl1pPr>
          </a:lstStyle>
          <a:p>
            <a:pPr lvl="0"/>
            <a:r>
              <a:rPr lang="en-US"/>
              <a:t>Click to insert sub-heading</a:t>
            </a:r>
          </a:p>
        </p:txBody>
      </p:sp>
    </p:spTree>
    <p:extLst>
      <p:ext uri="{BB962C8B-B14F-4D97-AF65-F5344CB8AC3E}">
        <p14:creationId xmlns:p14="http://schemas.microsoft.com/office/powerpoint/2010/main" val="30364532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7" name="Rectangle 6"/>
          <p:cNvSpPr/>
          <p:nvPr userDrawn="1"/>
        </p:nvSpPr>
        <p:spPr>
          <a:xfrm>
            <a:off x="563396" y="1260000"/>
            <a:ext cx="11066384" cy="5199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20"/>
          </a:p>
        </p:txBody>
      </p:sp>
      <p:sp>
        <p:nvSpPr>
          <p:cNvPr id="6" name="Title 1"/>
          <p:cNvSpPr>
            <a:spLocks noGrp="1"/>
          </p:cNvSpPr>
          <p:nvPr>
            <p:ph type="ctrTitle" hasCustomPrompt="1"/>
          </p:nvPr>
        </p:nvSpPr>
        <p:spPr>
          <a:xfrm>
            <a:off x="2945936" y="3516879"/>
            <a:ext cx="6241512" cy="553998"/>
          </a:xfrm>
        </p:spPr>
        <p:txBody>
          <a:bodyPr wrap="square" lIns="0" tIns="0" rIns="0" bIns="0">
            <a:spAutoFit/>
          </a:bodyPr>
          <a:lstStyle>
            <a:lvl1pPr algn="ctr">
              <a:defRPr sz="4000" b="1" cap="all" baseline="0">
                <a:solidFill>
                  <a:schemeClr val="bg1"/>
                </a:solidFill>
              </a:defRPr>
            </a:lvl1pPr>
          </a:lstStyle>
          <a:p>
            <a:r>
              <a:rPr lang="en-US"/>
              <a:t>Thank you</a:t>
            </a:r>
          </a:p>
        </p:txBody>
      </p:sp>
    </p:spTree>
    <p:extLst>
      <p:ext uri="{BB962C8B-B14F-4D97-AF65-F5344CB8AC3E}">
        <p14:creationId xmlns:p14="http://schemas.microsoft.com/office/powerpoint/2010/main" val="20381463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Content_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2000" y="73442"/>
            <a:ext cx="11044800" cy="720000"/>
          </a:xfrm>
        </p:spPr>
        <p:txBody>
          <a:bodyPr anchor="b" anchorCtr="0"/>
          <a:lstStyle>
            <a:lvl1pPr>
              <a:defRPr baseline="0"/>
            </a:lvl1pPr>
          </a:lstStyle>
          <a:p>
            <a:r>
              <a:rPr lang="en-US"/>
              <a:t>Click to insert slide title</a:t>
            </a:r>
          </a:p>
        </p:txBody>
      </p:sp>
      <p:sp>
        <p:nvSpPr>
          <p:cNvPr id="6" name="Text Placeholder 5"/>
          <p:cNvSpPr>
            <a:spLocks noGrp="1"/>
          </p:cNvSpPr>
          <p:nvPr>
            <p:ph type="body" sz="quarter" idx="17"/>
          </p:nvPr>
        </p:nvSpPr>
        <p:spPr>
          <a:xfrm>
            <a:off x="552000" y="1429789"/>
            <a:ext cx="11044800" cy="1119217"/>
          </a:xfrm>
        </p:spPr>
        <p:txBody>
          <a:bodyPr/>
          <a:lstStyle/>
          <a:p>
            <a:pPr lvl="0"/>
            <a:r>
              <a:rPr lang="en-US"/>
              <a:t>Edit Master text styles</a:t>
            </a:r>
          </a:p>
          <a:p>
            <a:pPr lvl="1"/>
            <a:r>
              <a:rPr lang="en-US"/>
              <a:t>Second level</a:t>
            </a:r>
          </a:p>
          <a:p>
            <a:pPr lvl="2"/>
            <a:r>
              <a:rPr lang="en-US"/>
              <a:t>Third level</a:t>
            </a:r>
          </a:p>
        </p:txBody>
      </p:sp>
      <p:sp>
        <p:nvSpPr>
          <p:cNvPr id="7" name="Text Placeholder 12"/>
          <p:cNvSpPr>
            <a:spLocks noGrp="1"/>
          </p:cNvSpPr>
          <p:nvPr>
            <p:ph type="body" sz="quarter" idx="16" hasCustomPrompt="1"/>
          </p:nvPr>
        </p:nvSpPr>
        <p:spPr>
          <a:xfrm>
            <a:off x="551999" y="6264000"/>
            <a:ext cx="8540727" cy="432000"/>
          </a:xfrm>
          <a:prstGeom prst="rect">
            <a:avLst/>
          </a:prstGeom>
        </p:spPr>
        <p:txBody>
          <a:bodyPr>
            <a:normAutofit/>
          </a:bodyPr>
          <a:lstStyle>
            <a:lvl1pPr marL="0" indent="0">
              <a:buNone/>
              <a:defRPr sz="900"/>
            </a:lvl1pPr>
          </a:lstStyle>
          <a:p>
            <a:pPr lvl="0"/>
            <a:r>
              <a:rPr lang="en-US"/>
              <a:t>Source: Click to insert footnote or source</a:t>
            </a:r>
          </a:p>
        </p:txBody>
      </p:sp>
    </p:spTree>
    <p:extLst>
      <p:ext uri="{BB962C8B-B14F-4D97-AF65-F5344CB8AC3E}">
        <p14:creationId xmlns:p14="http://schemas.microsoft.com/office/powerpoint/2010/main" val="15409595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2000" y="1440000"/>
            <a:ext cx="11044800" cy="553998"/>
          </a:xfrm>
        </p:spPr>
        <p:txBody>
          <a:bodyPr wrap="square" lIns="0" tIns="0" rIns="0" bIns="0">
            <a:spAutoFit/>
          </a:bodyPr>
          <a:lstStyle>
            <a:lvl1pPr algn="l">
              <a:defRPr sz="4000" b="1" cap="all" baseline="0">
                <a:solidFill>
                  <a:schemeClr val="tx2"/>
                </a:solidFill>
              </a:defRPr>
            </a:lvl1pPr>
          </a:lstStyle>
          <a:p>
            <a:r>
              <a:rPr lang="en-US"/>
              <a:t>CLICK TO INSERT PRESENTATION TITLE</a:t>
            </a:r>
          </a:p>
        </p:txBody>
      </p:sp>
      <p:sp>
        <p:nvSpPr>
          <p:cNvPr id="5" name="Text Placeholder 4"/>
          <p:cNvSpPr>
            <a:spLocks noGrp="1"/>
          </p:cNvSpPr>
          <p:nvPr>
            <p:ph type="body" sz="quarter" idx="10" hasCustomPrompt="1"/>
          </p:nvPr>
        </p:nvSpPr>
        <p:spPr>
          <a:xfrm>
            <a:off x="552000" y="2808000"/>
            <a:ext cx="11044800" cy="360000"/>
          </a:xfrm>
          <a:prstGeom prst="rect">
            <a:avLst/>
          </a:prstGeom>
        </p:spPr>
        <p:txBody>
          <a:bodyPr>
            <a:noAutofit/>
          </a:bodyPr>
          <a:lstStyle>
            <a:lvl1pPr marL="0" indent="0">
              <a:buNone/>
              <a:defRPr sz="1600" b="1" baseline="0">
                <a:solidFill>
                  <a:schemeClr val="tx2"/>
                </a:solidFill>
              </a:defRPr>
            </a:lvl1pPr>
          </a:lstStyle>
          <a:p>
            <a:pPr lvl="0"/>
            <a:r>
              <a:rPr lang="en-US"/>
              <a:t>Click to insert sub-heading and date</a:t>
            </a:r>
          </a:p>
        </p:txBody>
      </p:sp>
      <p:pic>
        <p:nvPicPr>
          <p:cNvPr id="9" name="Picture 8" descr="Tagline_Bottom_Left.jpg"/>
          <p:cNvPicPr>
            <a:picLocks noChangeAspect="1"/>
          </p:cNvPicPr>
          <p:nvPr userDrawn="1"/>
        </p:nvPicPr>
        <p:blipFill>
          <a:blip r:embed="rId2" cstate="print"/>
          <a:stretch>
            <a:fillRect/>
          </a:stretch>
        </p:blipFill>
        <p:spPr>
          <a:xfrm>
            <a:off x="1" y="6492240"/>
            <a:ext cx="3714496" cy="365760"/>
          </a:xfrm>
          <a:prstGeom prst="rect">
            <a:avLst/>
          </a:prstGeom>
        </p:spPr>
      </p:pic>
      <p:pic>
        <p:nvPicPr>
          <p:cNvPr id="10" name="Picture 9" descr="Contour_Block_B.jpg"/>
          <p:cNvPicPr>
            <a:picLocks/>
          </p:cNvPicPr>
          <p:nvPr userDrawn="1"/>
        </p:nvPicPr>
        <p:blipFill>
          <a:blip r:embed="rId3" cstate="print"/>
          <a:stretch>
            <a:fillRect/>
          </a:stretch>
        </p:blipFill>
        <p:spPr>
          <a:xfrm>
            <a:off x="563396" y="3295169"/>
            <a:ext cx="11066384" cy="3164369"/>
          </a:xfrm>
          <a:prstGeom prst="rect">
            <a:avLst/>
          </a:prstGeom>
        </p:spPr>
      </p:pic>
    </p:spTree>
    <p:extLst>
      <p:ext uri="{BB962C8B-B14F-4D97-AF65-F5344CB8AC3E}">
        <p14:creationId xmlns:p14="http://schemas.microsoft.com/office/powerpoint/2010/main" val="196101694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563396" y="1260000"/>
            <a:ext cx="11066384" cy="5199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20">
              <a:solidFill>
                <a:schemeClr val="bg2"/>
              </a:solidFill>
            </a:endParaRPr>
          </a:p>
        </p:txBody>
      </p:sp>
      <p:sp>
        <p:nvSpPr>
          <p:cNvPr id="2" name="Title 1"/>
          <p:cNvSpPr>
            <a:spLocks noGrp="1"/>
          </p:cNvSpPr>
          <p:nvPr>
            <p:ph type="ctrTitle" hasCustomPrompt="1"/>
          </p:nvPr>
        </p:nvSpPr>
        <p:spPr>
          <a:xfrm>
            <a:off x="792000" y="1472447"/>
            <a:ext cx="10608000" cy="553998"/>
          </a:xfrm>
        </p:spPr>
        <p:txBody>
          <a:bodyPr wrap="square" lIns="0" tIns="0" rIns="0" bIns="0">
            <a:spAutoFit/>
          </a:bodyPr>
          <a:lstStyle>
            <a:lvl1pPr algn="l">
              <a:defRPr sz="4000" b="1" cap="all" baseline="0">
                <a:solidFill>
                  <a:schemeClr val="bg1"/>
                </a:solidFill>
              </a:defRPr>
            </a:lvl1pPr>
          </a:lstStyle>
          <a:p>
            <a:r>
              <a:rPr lang="en-US"/>
              <a:t>Section title</a:t>
            </a:r>
          </a:p>
        </p:txBody>
      </p:sp>
      <p:sp>
        <p:nvSpPr>
          <p:cNvPr id="4" name="Text Placeholder 3"/>
          <p:cNvSpPr>
            <a:spLocks noGrp="1"/>
          </p:cNvSpPr>
          <p:nvPr>
            <p:ph type="body" sz="quarter" idx="10" hasCustomPrompt="1"/>
          </p:nvPr>
        </p:nvSpPr>
        <p:spPr>
          <a:xfrm>
            <a:off x="792000" y="2376000"/>
            <a:ext cx="10608000" cy="3780000"/>
          </a:xfrm>
          <a:prstGeom prst="rect">
            <a:avLst/>
          </a:prstGeom>
        </p:spPr>
        <p:txBody>
          <a:bodyPr>
            <a:normAutofit/>
          </a:bodyPr>
          <a:lstStyle>
            <a:lvl1pPr marL="176216" indent="-176216">
              <a:lnSpc>
                <a:spcPct val="150000"/>
              </a:lnSpc>
              <a:defRPr sz="1800" baseline="0">
                <a:solidFill>
                  <a:schemeClr val="bg1"/>
                </a:solidFill>
              </a:defRPr>
            </a:lvl1pPr>
            <a:lvl2pPr marL="176216" indent="-176216">
              <a:defRPr sz="1800">
                <a:solidFill>
                  <a:schemeClr val="bg1"/>
                </a:solidFill>
              </a:defRPr>
            </a:lvl2pPr>
            <a:lvl3pPr marL="176216" indent="-176216">
              <a:defRPr sz="1800">
                <a:solidFill>
                  <a:schemeClr val="bg1"/>
                </a:solidFill>
              </a:defRPr>
            </a:lvl3pPr>
          </a:lstStyle>
          <a:p>
            <a:pPr lvl="0"/>
            <a:r>
              <a:rPr lang="en-US"/>
              <a:t>Agenda item one</a:t>
            </a:r>
          </a:p>
          <a:p>
            <a:pPr lvl="0"/>
            <a:r>
              <a:rPr lang="en-US"/>
              <a:t>Agenda item two</a:t>
            </a:r>
          </a:p>
          <a:p>
            <a:pPr lvl="0"/>
            <a:r>
              <a:rPr lang="en-US"/>
              <a:t>Agenda item three</a:t>
            </a:r>
          </a:p>
          <a:p>
            <a:pPr lvl="0"/>
            <a:r>
              <a:rPr lang="en-US"/>
              <a:t>Agenda item four</a:t>
            </a:r>
          </a:p>
          <a:p>
            <a:pPr lvl="0"/>
            <a:r>
              <a:rPr lang="en-US"/>
              <a:t>Agenda item five</a:t>
            </a:r>
          </a:p>
          <a:p>
            <a:pPr lvl="0"/>
            <a:r>
              <a:rPr lang="en-US"/>
              <a:t>Agenda item six</a:t>
            </a:r>
          </a:p>
          <a:p>
            <a:pPr lvl="0"/>
            <a:r>
              <a:rPr lang="en-US"/>
              <a:t>Agenda item seven</a:t>
            </a:r>
          </a:p>
          <a:p>
            <a:pPr lvl="0"/>
            <a:r>
              <a:rPr lang="en-US"/>
              <a:t>Agenda item eight</a:t>
            </a:r>
          </a:p>
        </p:txBody>
      </p:sp>
    </p:spTree>
    <p:extLst>
      <p:ext uri="{BB962C8B-B14F-4D97-AF65-F5344CB8AC3E}">
        <p14:creationId xmlns:p14="http://schemas.microsoft.com/office/powerpoint/2010/main" val="117240691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82831"/>
          </a:xfrm>
        </p:spPr>
        <p:txBody>
          <a:bodyPr/>
          <a:lstStyle>
            <a:lvl1pPr>
              <a:defRPr sz="3137"/>
            </a:lvl1pPr>
          </a:lstStyle>
          <a:p>
            <a:r>
              <a:rPr lang="en-US"/>
              <a:t>Click to edit Master title style</a:t>
            </a:r>
          </a:p>
        </p:txBody>
      </p:sp>
    </p:spTree>
    <p:extLst>
      <p:ext uri="{BB962C8B-B14F-4D97-AF65-F5344CB8AC3E}">
        <p14:creationId xmlns:p14="http://schemas.microsoft.com/office/powerpoint/2010/main" val="38255778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_Main 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2000" y="73442"/>
            <a:ext cx="11044800" cy="720000"/>
          </a:xfrm>
        </p:spPr>
        <p:txBody>
          <a:bodyPr anchor="b" anchorCtr="0"/>
          <a:lstStyle>
            <a:lvl1pPr>
              <a:defRPr baseline="0">
                <a:solidFill>
                  <a:schemeClr val="tx2"/>
                </a:solidFill>
              </a:defRPr>
            </a:lvl1pPr>
          </a:lstStyle>
          <a:p>
            <a:r>
              <a:rPr lang="en-US"/>
              <a:t>Click to insert slide title</a:t>
            </a:r>
          </a:p>
        </p:txBody>
      </p:sp>
      <p:sp>
        <p:nvSpPr>
          <p:cNvPr id="6" name="Text Placeholder 5"/>
          <p:cNvSpPr>
            <a:spLocks noGrp="1"/>
          </p:cNvSpPr>
          <p:nvPr>
            <p:ph type="body" sz="quarter" idx="17"/>
          </p:nvPr>
        </p:nvSpPr>
        <p:spPr>
          <a:xfrm>
            <a:off x="552000" y="1181100"/>
            <a:ext cx="11044800" cy="1119217"/>
          </a:xfrm>
        </p:spPr>
        <p:txBody>
          <a:bodyPr/>
          <a:lstStyle/>
          <a:p>
            <a:pPr lvl="0"/>
            <a:r>
              <a:rPr lang="en-US"/>
              <a:t>Edit Master text styles</a:t>
            </a:r>
          </a:p>
          <a:p>
            <a:pPr lvl="1"/>
            <a:r>
              <a:rPr lang="en-US"/>
              <a:t>Second level</a:t>
            </a:r>
          </a:p>
          <a:p>
            <a:pPr lvl="2"/>
            <a:r>
              <a:rPr lang="en-US"/>
              <a:t>Third level</a:t>
            </a:r>
          </a:p>
        </p:txBody>
      </p:sp>
      <p:sp>
        <p:nvSpPr>
          <p:cNvPr id="7" name="Text Placeholder 12"/>
          <p:cNvSpPr>
            <a:spLocks noGrp="1"/>
          </p:cNvSpPr>
          <p:nvPr>
            <p:ph type="body" sz="quarter" idx="16" hasCustomPrompt="1"/>
          </p:nvPr>
        </p:nvSpPr>
        <p:spPr>
          <a:xfrm>
            <a:off x="551999" y="6264000"/>
            <a:ext cx="8540727" cy="432000"/>
          </a:xfrm>
          <a:prstGeom prst="rect">
            <a:avLst/>
          </a:prstGeom>
        </p:spPr>
        <p:txBody>
          <a:bodyPr>
            <a:normAutofit/>
          </a:bodyPr>
          <a:lstStyle>
            <a:lvl1pPr marL="0" indent="0">
              <a:buNone/>
              <a:defRPr sz="900"/>
            </a:lvl1pPr>
          </a:lstStyle>
          <a:p>
            <a:pPr lvl="0"/>
            <a:r>
              <a:rPr lang="en-US"/>
              <a:t>Source: Click to insert footnote or source</a:t>
            </a:r>
          </a:p>
        </p:txBody>
      </p:sp>
      <p:cxnSp>
        <p:nvCxnSpPr>
          <p:cNvPr id="8" name="Straight Connector 7"/>
          <p:cNvCxnSpPr/>
          <p:nvPr userDrawn="1"/>
        </p:nvCxnSpPr>
        <p:spPr>
          <a:xfrm>
            <a:off x="550984" y="1034710"/>
            <a:ext cx="11044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962958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Content_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2000" y="73442"/>
            <a:ext cx="11044800" cy="720000"/>
          </a:xfrm>
        </p:spPr>
        <p:txBody>
          <a:bodyPr anchor="b" anchorCtr="0"/>
          <a:lstStyle>
            <a:lvl1pPr>
              <a:defRPr baseline="0"/>
            </a:lvl1pPr>
          </a:lstStyle>
          <a:p>
            <a:r>
              <a:rPr lang="en-US"/>
              <a:t>Click to insert slide title</a:t>
            </a:r>
          </a:p>
        </p:txBody>
      </p:sp>
      <p:sp>
        <p:nvSpPr>
          <p:cNvPr id="6" name="Text Placeholder 5"/>
          <p:cNvSpPr>
            <a:spLocks noGrp="1"/>
          </p:cNvSpPr>
          <p:nvPr>
            <p:ph type="body" sz="quarter" idx="17"/>
          </p:nvPr>
        </p:nvSpPr>
        <p:spPr>
          <a:xfrm>
            <a:off x="552000" y="1429789"/>
            <a:ext cx="11044800" cy="1119217"/>
          </a:xfrm>
        </p:spPr>
        <p:txBody>
          <a:bodyPr/>
          <a:lstStyle/>
          <a:p>
            <a:pPr lvl="0"/>
            <a:r>
              <a:rPr lang="en-US"/>
              <a:t>Edit Master text styles</a:t>
            </a:r>
          </a:p>
          <a:p>
            <a:pPr lvl="1"/>
            <a:r>
              <a:rPr lang="en-US"/>
              <a:t>Second level</a:t>
            </a:r>
          </a:p>
          <a:p>
            <a:pPr lvl="2"/>
            <a:r>
              <a:rPr lang="en-US"/>
              <a:t>Third level</a:t>
            </a:r>
          </a:p>
        </p:txBody>
      </p:sp>
      <p:sp>
        <p:nvSpPr>
          <p:cNvPr id="7" name="Text Placeholder 12"/>
          <p:cNvSpPr>
            <a:spLocks noGrp="1"/>
          </p:cNvSpPr>
          <p:nvPr>
            <p:ph type="body" sz="quarter" idx="16" hasCustomPrompt="1"/>
          </p:nvPr>
        </p:nvSpPr>
        <p:spPr>
          <a:xfrm>
            <a:off x="551999" y="6264000"/>
            <a:ext cx="8540727" cy="432000"/>
          </a:xfrm>
          <a:prstGeom prst="rect">
            <a:avLst/>
          </a:prstGeom>
        </p:spPr>
        <p:txBody>
          <a:bodyPr>
            <a:normAutofit/>
          </a:bodyPr>
          <a:lstStyle>
            <a:lvl1pPr marL="0" indent="0">
              <a:buNone/>
              <a:defRPr sz="900"/>
            </a:lvl1pPr>
          </a:lstStyle>
          <a:p>
            <a:pPr lvl="0"/>
            <a:r>
              <a:rPr lang="en-US"/>
              <a:t>Source: Click to insert footnote or source</a:t>
            </a:r>
          </a:p>
        </p:txBody>
      </p:sp>
    </p:spTree>
    <p:extLst>
      <p:ext uri="{BB962C8B-B14F-4D97-AF65-F5344CB8AC3E}">
        <p14:creationId xmlns:p14="http://schemas.microsoft.com/office/powerpoint/2010/main" val="194092599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Left arrow">
  <p:cSld name="Left arrow">
    <p:bg>
      <p:bgPr>
        <a:gradFill>
          <a:gsLst>
            <a:gs pos="0">
              <a:schemeClr val="dk2"/>
            </a:gs>
            <a:gs pos="100000">
              <a:schemeClr val="accent2"/>
            </a:gs>
          </a:gsLst>
          <a:lin ang="8100019" scaled="0"/>
        </a:gradFill>
        <a:effectLst/>
      </p:bgPr>
    </p:bg>
    <p:spTree>
      <p:nvGrpSpPr>
        <p:cNvPr id="1" name="Shape 2508"/>
        <p:cNvGrpSpPr/>
        <p:nvPr/>
      </p:nvGrpSpPr>
      <p:grpSpPr>
        <a:xfrm>
          <a:off x="0" y="0"/>
          <a:ext cx="0" cy="0"/>
          <a:chOff x="0" y="0"/>
          <a:chExt cx="0" cy="0"/>
        </a:xfrm>
      </p:grpSpPr>
      <p:pic>
        <p:nvPicPr>
          <p:cNvPr id="2509" name="Google Shape;2509;p350"/>
          <p:cNvPicPr preferRelativeResize="0"/>
          <p:nvPr/>
        </p:nvPicPr>
        <p:blipFill rotWithShape="1">
          <a:blip r:embed="rId2">
            <a:alphaModFix/>
          </a:blip>
          <a:srcRect/>
          <a:stretch/>
        </p:blipFill>
        <p:spPr>
          <a:xfrm>
            <a:off x="3108639" y="3594368"/>
            <a:ext cx="1365250" cy="3382962"/>
          </a:xfrm>
          <a:prstGeom prst="rect">
            <a:avLst/>
          </a:prstGeom>
          <a:noFill/>
          <a:ln>
            <a:noFill/>
          </a:ln>
        </p:spPr>
      </p:pic>
      <p:sp>
        <p:nvSpPr>
          <p:cNvPr id="2510" name="Google Shape;2510;p350"/>
          <p:cNvSpPr/>
          <p:nvPr/>
        </p:nvSpPr>
        <p:spPr>
          <a:xfrm>
            <a:off x="1524" y="131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None/>
            </a:pPr>
            <a:endParaRPr sz="900">
              <a:solidFill>
                <a:srgbClr val="FFFFFF"/>
              </a:solidFill>
              <a:latin typeface="Arial"/>
              <a:ea typeface="Arial"/>
              <a:cs typeface="Arial"/>
              <a:sym typeface="Arial"/>
            </a:endParaRPr>
          </a:p>
        </p:txBody>
      </p:sp>
      <p:sp>
        <p:nvSpPr>
          <p:cNvPr id="2511" name="Google Shape;2511;p350"/>
          <p:cNvSpPr txBox="1">
            <a:spLocks noGrp="1"/>
          </p:cNvSpPr>
          <p:nvPr>
            <p:ph type="title"/>
          </p:nvPr>
        </p:nvSpPr>
        <p:spPr>
          <a:xfrm>
            <a:off x="630000" y="2764203"/>
            <a:ext cx="2478900" cy="1314300"/>
          </a:xfrm>
          <a:prstGeom prst="rect">
            <a:avLst/>
          </a:prstGeom>
          <a:noFill/>
          <a:ln>
            <a:noFill/>
          </a:ln>
        </p:spPr>
        <p:txBody>
          <a:bodyPr spcFirstLastPara="1" wrap="square" lIns="0" tIns="0" rIns="0" bIns="0" anchor="ctr" anchorCtr="0"/>
          <a:lstStyle>
            <a:lvl1pPr lvl="0" algn="l" rtl="0">
              <a:lnSpc>
                <a:spcPct val="90000"/>
              </a:lnSpc>
              <a:spcBef>
                <a:spcPts val="0"/>
              </a:spcBef>
              <a:spcAft>
                <a:spcPts val="0"/>
              </a:spcAft>
              <a:buClr>
                <a:schemeClr val="dk2"/>
              </a:buClr>
              <a:buSzPts val="3200"/>
              <a:buFont typeface="Arial"/>
              <a:buNone/>
              <a:defRPr sz="2400">
                <a:solidFill>
                  <a:schemeClr val="dk2"/>
                </a:solidFill>
                <a:latin typeface="Arial"/>
                <a:ea typeface="Arial"/>
                <a:cs typeface="Arial"/>
                <a:sym typeface="Arial"/>
              </a:defRPr>
            </a:lvl1pPr>
            <a:lvl2pPr lvl="1" rtl="0">
              <a:spcBef>
                <a:spcPts val="0"/>
              </a:spcBef>
              <a:spcAft>
                <a:spcPts val="0"/>
              </a:spcAft>
              <a:buSzPts val="1500"/>
              <a:buNone/>
              <a:defRPr/>
            </a:lvl2pPr>
            <a:lvl3pPr lvl="2" rtl="0">
              <a:spcBef>
                <a:spcPts val="0"/>
              </a:spcBef>
              <a:spcAft>
                <a:spcPts val="0"/>
              </a:spcAft>
              <a:buSzPts val="1500"/>
              <a:buNone/>
              <a:defRPr/>
            </a:lvl3pPr>
            <a:lvl4pPr lvl="3" rtl="0">
              <a:spcBef>
                <a:spcPts val="0"/>
              </a:spcBef>
              <a:spcAft>
                <a:spcPts val="0"/>
              </a:spcAft>
              <a:buSzPts val="1500"/>
              <a:buNone/>
              <a:defRPr/>
            </a:lvl4pPr>
            <a:lvl5pPr lvl="4" rtl="0">
              <a:spcBef>
                <a:spcPts val="0"/>
              </a:spcBef>
              <a:spcAft>
                <a:spcPts val="0"/>
              </a:spcAft>
              <a:buSzPts val="1500"/>
              <a:buNone/>
              <a:defRPr/>
            </a:lvl5pPr>
            <a:lvl6pPr lvl="5" rtl="0">
              <a:spcBef>
                <a:spcPts val="0"/>
              </a:spcBef>
              <a:spcAft>
                <a:spcPts val="0"/>
              </a:spcAft>
              <a:buSzPts val="1500"/>
              <a:buNone/>
              <a:defRPr/>
            </a:lvl6pPr>
            <a:lvl7pPr lvl="6" rtl="0">
              <a:spcBef>
                <a:spcPts val="0"/>
              </a:spcBef>
              <a:spcAft>
                <a:spcPts val="0"/>
              </a:spcAft>
              <a:buSzPts val="1500"/>
              <a:buNone/>
              <a:defRPr/>
            </a:lvl7pPr>
            <a:lvl8pPr lvl="7" rtl="0">
              <a:spcBef>
                <a:spcPts val="0"/>
              </a:spcBef>
              <a:spcAft>
                <a:spcPts val="0"/>
              </a:spcAft>
              <a:buSzPts val="1500"/>
              <a:buNone/>
              <a:defRPr/>
            </a:lvl8pPr>
            <a:lvl9pPr lvl="8" rtl="0">
              <a:spcBef>
                <a:spcPts val="0"/>
              </a:spcBef>
              <a:spcAft>
                <a:spcPts val="0"/>
              </a:spcAft>
              <a:buSzPts val="1500"/>
              <a:buNone/>
              <a:defRPr/>
            </a:lvl9pPr>
          </a:lstStyle>
          <a:p>
            <a:endParaRPr/>
          </a:p>
        </p:txBody>
      </p:sp>
    </p:spTree>
    <p:extLst>
      <p:ext uri="{BB962C8B-B14F-4D97-AF65-F5344CB8AC3E}">
        <p14:creationId xmlns:p14="http://schemas.microsoft.com/office/powerpoint/2010/main" val="22977932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309" y="1"/>
            <a:ext cx="3273053" cy="1082742"/>
          </a:xfrm>
          <a:prstGeom prst="rect">
            <a:avLst/>
          </a:prstGeom>
        </p:spPr>
      </p:pic>
    </p:spTree>
    <p:extLst>
      <p:ext uri="{BB962C8B-B14F-4D97-AF65-F5344CB8AC3E}">
        <p14:creationId xmlns:p14="http://schemas.microsoft.com/office/powerpoint/2010/main" val="4058967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59755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Presentation title slide blue">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400"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pic>
        <p:nvPicPr>
          <p:cNvPr id="4" name="Picture 3">
            <a:extLst>
              <a:ext uri="{FF2B5EF4-FFF2-40B4-BE49-F238E27FC236}">
                <a16:creationId xmlns:a16="http://schemas.microsoft.com/office/drawing/2014/main" id="{EE7B851A-3B2C-4EDA-B13E-9D38A55F249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310" y="1"/>
            <a:ext cx="2059942" cy="1082742"/>
          </a:xfrm>
          <a:prstGeom prst="rect">
            <a:avLst/>
          </a:prstGeom>
        </p:spPr>
      </p:pic>
    </p:spTree>
    <p:extLst>
      <p:ext uri="{BB962C8B-B14F-4D97-AF65-F5344CB8AC3E}">
        <p14:creationId xmlns:p14="http://schemas.microsoft.com/office/powerpoint/2010/main" val="1737949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245154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60104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lvl="0"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3"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6" y="4342825"/>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303093" y="438570"/>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88163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9"/>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597978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065018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966408" y="2422106"/>
            <a:ext cx="4982411" cy="1990288"/>
          </a:xfrm>
        </p:spPr>
        <p:txBody>
          <a:bodyPr anchor="ctr"/>
          <a:lstStyle>
            <a:lvl1pPr marL="400050" indent="-400050">
              <a:spcBef>
                <a:spcPts val="0"/>
              </a:spcBef>
              <a:spcAft>
                <a:spcPts val="2000"/>
              </a:spcAft>
              <a:defRPr sz="2400">
                <a:latin typeface="+mj-lt"/>
              </a:defRPr>
            </a:lvl1pPr>
            <a:lvl2pPr marL="594360">
              <a:spcAft>
                <a:spcPts val="1600"/>
              </a:spcAft>
              <a:defRPr sz="18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00688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24026"/>
          </a:xfrm>
        </p:spPr>
        <p:txBody>
          <a:bodyPr wrap="square" lIns="0" tIns="0" rIns="0" bIns="0">
            <a:spAutoFit/>
          </a:bodyPr>
          <a:lst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00000"/>
              </a:lnSpc>
              <a:spcBef>
                <a:spcPts val="0"/>
              </a:spcBef>
              <a:spcAft>
                <a:spcPts val="1371"/>
              </a:spcAft>
              <a:buNone/>
              <a:defRPr sz="1600">
                <a:solidFill>
                  <a:srgbClr val="000000"/>
                </a:solidFill>
              </a:defRPr>
            </a:lvl2pPr>
            <a:lvl3pPr marL="0" indent="0">
              <a:lnSpc>
                <a:spcPct val="100000"/>
              </a:lnSpc>
              <a:spcBef>
                <a:spcPts val="0"/>
              </a:spcBef>
              <a:spcAft>
                <a:spcPts val="1371"/>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84007514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18640"/>
          </a:xfrm>
        </p:spPr>
        <p:txBody>
          <a:bodyPr wrap="square" lIns="0" tIns="0" rIns="0" bIns="0">
            <a:spAutoFit/>
          </a:bodyPr>
          <a:lstStyle>
            <a:lvl1pPr marL="280067" indent="-280067">
              <a:lnSpc>
                <a:spcPct val="100000"/>
              </a:lnSpc>
              <a:spcBef>
                <a:spcPts val="0"/>
              </a:spcBef>
              <a:spcAft>
                <a:spcPts val="1371"/>
              </a:spcAft>
              <a:buFont typeface="Arial" panose="020B0604020202020204" pitchFamily="34" charset="0"/>
              <a:buChar char="•"/>
              <a:defRPr sz="1800" b="0" i="0">
                <a:solidFill>
                  <a:srgbClr val="000000"/>
                </a:solidFill>
                <a:latin typeface="+mj-lt"/>
              </a:defRPr>
            </a:lvl1pPr>
            <a:lvl2pPr marL="504120" indent="-280067">
              <a:lnSpc>
                <a:spcPct val="100000"/>
              </a:lnSpc>
              <a:spcBef>
                <a:spcPts val="0"/>
              </a:spcBef>
              <a:spcAft>
                <a:spcPts val="1371"/>
              </a:spcAft>
              <a:buFont typeface="Arial" panose="020B0604020202020204" pitchFamily="34" charset="0"/>
              <a:buChar char="•"/>
              <a:defRPr sz="1600">
                <a:solidFill>
                  <a:srgbClr val="000000"/>
                </a:solidFill>
              </a:defRPr>
            </a:lvl2pPr>
            <a:lvl3pPr marL="728174" indent="-280067">
              <a:lnSpc>
                <a:spcPct val="100000"/>
              </a:lnSpc>
              <a:spcBef>
                <a:spcPts val="0"/>
              </a:spcBef>
              <a:spcAft>
                <a:spcPts val="1371"/>
              </a:spcAft>
              <a:buFont typeface="Arial" panose="020B0604020202020204" pitchFamily="34" charset="0"/>
              <a:buChar char="•"/>
              <a:defRPr sz="1400">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sz="3600">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21583018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15441481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bg1"/>
                </a:solidFill>
              </a:defRPr>
            </a:lvl1pPr>
          </a:lstStyle>
          <a:p>
            <a:r>
              <a:rPr lang="en-US"/>
              <a:t>Title</a:t>
            </a:r>
          </a:p>
        </p:txBody>
      </p:sp>
    </p:spTree>
    <p:extLst>
      <p:ext uri="{BB962C8B-B14F-4D97-AF65-F5344CB8AC3E}">
        <p14:creationId xmlns:p14="http://schemas.microsoft.com/office/powerpoint/2010/main" val="117507854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1"/>
            <a:ext cx="11339774" cy="830997"/>
          </a:xfrm>
        </p:spPr>
        <p:txBody>
          <a:bodyPr wrap="square" lIns="0" tIns="0" rIns="0" bIns="0">
            <a:spAutoFit/>
          </a:bodyPr>
          <a:lstStyle>
            <a:lvl1pPr marL="0" indent="0">
              <a:lnSpc>
                <a:spcPct val="100000"/>
              </a:lnSpc>
              <a:spcBef>
                <a:spcPts val="0"/>
              </a:spcBef>
              <a:spcAft>
                <a:spcPts val="1371"/>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90"/>
            <a:ext cx="3630521"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3292"/>
            <a:ext cx="3630521" cy="2649187"/>
          </a:xfrm>
        </p:spPr>
        <p:txBody>
          <a:bodyPr lIns="0" tIns="0" rIns="0" bIns="0"/>
          <a:lstStyle>
            <a:lvl1pPr marL="0" indent="0">
              <a:lnSpc>
                <a:spcPct val="100000"/>
              </a:lnSpc>
              <a:spcBef>
                <a:spcPts val="0"/>
              </a:spcBef>
              <a:spcAft>
                <a:spcPts val="882"/>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882"/>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7829730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5"/>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0842"/>
            <a:ext cx="3630521"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067" lvl="1" indent="-280067">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4" y="2310842"/>
            <a:ext cx="3630521" cy="265598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marL="280067" lvl="1" indent="-280067">
              <a:buFont typeface="Arial" panose="020B0604020202020204" pitchFamily="34" charset="0"/>
              <a:buChar char="•"/>
            </a:pPr>
            <a:r>
              <a:rPr lang="en-US"/>
              <a:t>Body copy Segoe Regular 14</a:t>
            </a:r>
          </a:p>
          <a:p>
            <a:pPr marL="280067" lvl="1" indent="-280067">
              <a:buFont typeface="Arial" panose="020B0604020202020204" pitchFamily="34" charset="0"/>
              <a:buChar char="•"/>
            </a:pPr>
            <a:r>
              <a:rPr lang="en-US"/>
              <a:t>Lorem ipsum dolor sit </a:t>
            </a:r>
            <a:r>
              <a:rPr lang="en-US" err="1"/>
              <a:t>amet</a:t>
            </a:r>
            <a:r>
              <a:rPr lang="en-US"/>
              <a:t>, </a:t>
            </a:r>
            <a:r>
              <a:rPr lang="en-US" err="1"/>
              <a:t>consectetur</a:t>
            </a:r>
            <a:endParaRPr lang="en-US"/>
          </a:p>
          <a:p>
            <a:pPr marL="280067" lvl="1" indent="-280067">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067" lvl="1" indent="-280067">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067" lvl="1" indent="-280067">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067" lvl="1" indent="-280067">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067" lvl="1" indent="-280067">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067" lvl="1" indent="-280067">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1847760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02491"/>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3876182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5274"/>
          </a:xfrm>
        </p:spPr>
        <p:txBody>
          <a:bodyPr lIns="0" tIns="0" rIns="0" bIns="0">
            <a:noAutofit/>
          </a:bodyPr>
          <a:lstStyle>
            <a:lvl1pPr marL="0" marR="0" indent="0" algn="l" defTabSz="914192" rtl="0" eaLnBrk="1" fontAlgn="auto" latinLnBrk="0" hangingPunct="1">
              <a:lnSpc>
                <a:spcPct val="100000"/>
              </a:lnSpc>
              <a:spcBef>
                <a:spcPts val="0"/>
              </a:spcBef>
              <a:spcAft>
                <a:spcPts val="686"/>
              </a:spcAft>
              <a:buClrTx/>
              <a:buSzPct val="90000"/>
              <a:buFont typeface="Wingdings" panose="05000000000000000000" pitchFamily="2" charset="2"/>
              <a:buNone/>
              <a:tabLst/>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2"/>
            <a:ext cx="5547873" cy="2605273"/>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36379" y="6431005"/>
            <a:ext cx="11326085" cy="94962"/>
            <a:chOff x="445128" y="6559056"/>
            <a:chExt cx="11553197" cy="96853"/>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8143663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810717386"/>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83913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402533"/>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36226856"/>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3032458"/>
            <a:ext cx="5555966" cy="758022"/>
          </a:xfrm>
          <a:prstGeom prst="rect">
            <a:avLst/>
          </a:prstGeom>
        </p:spPr>
        <p:txBody>
          <a:bodyPr vert="horz" wrap="square" lIns="0" tIns="164592" rIns="0" bIns="0" rtlCol="0" anchor="t">
            <a:noAutofit/>
          </a:bodyPr>
          <a:lstStyle>
            <a:lvl1pPr>
              <a:defRPr sz="3600"/>
            </a:lvl1pPr>
          </a:lstStyle>
          <a:p>
            <a:r>
              <a:rPr lang="en-US"/>
              <a:t>Photo layout</a:t>
            </a:r>
          </a:p>
        </p:txBody>
      </p:sp>
    </p:spTree>
    <p:extLst>
      <p:ext uri="{BB962C8B-B14F-4D97-AF65-F5344CB8AC3E}">
        <p14:creationId xmlns:p14="http://schemas.microsoft.com/office/powerpoint/2010/main" val="3241273133"/>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2"/>
            <a:ext cx="3630521" cy="1166986"/>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66986"/>
          </a:xfrm>
        </p:spPr>
        <p:txBody>
          <a:bodyPr lIns="0" tIns="0" rIns="0" bIns="0"/>
          <a:lstStyle>
            <a:lvl1pPr marL="0" indent="0">
              <a:lnSpc>
                <a:spcPct val="100000"/>
              </a:lnSpc>
              <a:spcBef>
                <a:spcPts val="0"/>
              </a:spcBef>
              <a:spcAft>
                <a:spcPts val="686"/>
              </a:spcAft>
              <a:buNone/>
              <a:defRPr lang="en-US" sz="1400" b="1" kern="1200" spc="0" baseline="0" dirty="0" smtClean="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4" y="3986232"/>
            <a:ext cx="3630521" cy="1166986"/>
          </a:xfrm>
        </p:spPr>
        <p:txBody>
          <a:bodyPr lIns="0" tIns="0" rIns="0" bIns="0"/>
          <a:lstStyle>
            <a:lvl1pPr marL="0" indent="0">
              <a:lnSpc>
                <a:spcPct val="100000"/>
              </a:lnSpc>
              <a:spcBef>
                <a:spcPts val="0"/>
              </a:spcBef>
              <a:spcAft>
                <a:spcPts val="686"/>
              </a:spcAft>
              <a:buNone/>
              <a:defRPr lang="en-US" sz="1400" b="1" kern="1200" spc="0" baseline="0" dirty="0">
                <a:solidFill>
                  <a:schemeClr val="tx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4"/>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200508053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4" y="1179839"/>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5" y="3986234"/>
            <a:ext cx="3630521" cy="1113895"/>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4"/>
            <a:ext cx="3623050" cy="1113895"/>
          </a:xfrm>
        </p:spPr>
        <p:txBody>
          <a:bodyPr lIns="0" tIns="0" rIns="0" bIns="0"/>
          <a:lstStyle>
            <a:lvl1pPr marL="0" indent="0">
              <a:lnSpc>
                <a:spcPct val="100000"/>
              </a:lnSpc>
              <a:spcBef>
                <a:spcPts val="0"/>
              </a:spcBef>
              <a:spcAft>
                <a:spcPts val="686"/>
              </a:spcAft>
              <a:buNone/>
              <a:defRPr lang="en-US" sz="1371" b="1" kern="1200" spc="0" baseline="0" dirty="0" smtClean="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4" y="3986234"/>
            <a:ext cx="3630521" cy="1113895"/>
          </a:xfrm>
        </p:spPr>
        <p:txBody>
          <a:bodyPr lIns="0" tIns="0" rIns="0" bIns="0"/>
          <a:lstStyle>
            <a:lvl1pPr marL="0" indent="0">
              <a:lnSpc>
                <a:spcPct val="100000"/>
              </a:lnSpc>
              <a:spcBef>
                <a:spcPts val="0"/>
              </a:spcBef>
              <a:spcAft>
                <a:spcPts val="686"/>
              </a:spcAft>
              <a:buNone/>
              <a:defRPr lang="en-US" sz="1371" b="1" kern="1200" spc="0" baseline="0" dirty="0">
                <a:solidFill>
                  <a:schemeClr val="tx2"/>
                </a:solidFill>
                <a:latin typeface="+mn-lt"/>
                <a:ea typeface="+mn-ea"/>
                <a:cs typeface="+mn-cs"/>
              </a:defRPr>
            </a:lvl1pPr>
            <a:lvl2pPr marL="280067" marR="0" indent="-280067" algn="l" defTabSz="914192" rtl="0" eaLnBrk="1" fontAlgn="auto" latinLnBrk="0" hangingPunct="1">
              <a:lnSpc>
                <a:spcPct val="100000"/>
              </a:lnSpc>
              <a:spcBef>
                <a:spcPts val="0"/>
              </a:spcBef>
              <a:spcAft>
                <a:spcPts val="686"/>
              </a:spcAft>
              <a:buClrTx/>
              <a:buSzPct val="90000"/>
              <a:buFont typeface="Arial" panose="020B0604020202020204" pitchFamily="34" charset="0"/>
              <a:buChar char="•"/>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36379" y="6431005"/>
            <a:ext cx="11326085" cy="94962"/>
            <a:chOff x="445128" y="6559056"/>
            <a:chExt cx="11553197" cy="96853"/>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4115575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6"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7"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8"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9"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50"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3" y="1138746"/>
            <a:ext cx="1710367" cy="4101572"/>
          </a:xfrm>
        </p:spPr>
        <p:txBody>
          <a:bodyPr lIns="0" tIns="0" rIns="0" bIns="0"/>
          <a:lstStyle>
            <a:lvl1pPr marL="0" indent="0">
              <a:lnSpc>
                <a:spcPct val="100000"/>
              </a:lnSpc>
              <a:spcBef>
                <a:spcPts val="0"/>
              </a:spcBef>
              <a:spcAft>
                <a:spcPts val="686"/>
              </a:spcAft>
              <a:buNone/>
              <a:defRPr sz="1371"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371">
                <a:solidFill>
                  <a:srgbClr val="000000"/>
                </a:solidFill>
              </a:defRPr>
            </a:lvl2pPr>
            <a:lvl3pPr marL="448107" indent="0">
              <a:buNone/>
              <a:defRPr/>
            </a:lvl3pPr>
            <a:lvl4pPr marL="672161" indent="0">
              <a:buNone/>
              <a:defRPr/>
            </a:lvl4pPr>
            <a:lvl5pPr marL="896214"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36379" y="6431005"/>
            <a:ext cx="11326085" cy="94962"/>
            <a:chOff x="445128" y="6559056"/>
            <a:chExt cx="11553197" cy="96853"/>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00032657"/>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1179839"/>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5"/>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136944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8386459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latin typeface="+mj-lt"/>
              </a:defRPr>
            </a:lvl1pPr>
          </a:lstStyle>
          <a:p>
            <a:pPr marL="0" lvl="0">
              <a:lnSpc>
                <a:spcPts val="5489"/>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79163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36379" y="6431005"/>
            <a:ext cx="11326085" cy="94962"/>
            <a:chOff x="445128" y="6559056"/>
            <a:chExt cx="11553197" cy="96853"/>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762301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400"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Tree>
    <p:extLst>
      <p:ext uri="{BB962C8B-B14F-4D97-AF65-F5344CB8AC3E}">
        <p14:creationId xmlns:p14="http://schemas.microsoft.com/office/powerpoint/2010/main" val="252301403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image" Target="../media/image5.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image" Target="../media/image6.png"/><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image" Target="../media/image18.png"/><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theme" Target="../theme/theme4.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image" Target="../media/image5.emf"/><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image" Target="../media/image30.png"/><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image" Target="../media/image6.png"/><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image" Target="../media/image5.emf"/><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theme" Target="../theme/theme5.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0"/>
          <a:srcRect l="762"/>
          <a:stretch/>
        </p:blipFill>
        <p:spPr>
          <a:xfrm rot="5400000">
            <a:off x="9509761" y="2843774"/>
            <a:ext cx="6858000" cy="1170455"/>
          </a:xfrm>
          <a:prstGeom prst="rect">
            <a:avLst/>
          </a:prstGeom>
        </p:spPr>
      </p:pic>
      <p:sp>
        <p:nvSpPr>
          <p:cNvPr id="5" name="TextBox 4">
            <a:extLst>
              <a:ext uri="{FF2B5EF4-FFF2-40B4-BE49-F238E27FC236}">
                <a16:creationId xmlns:a16="http://schemas.microsoft.com/office/drawing/2014/main" id="{32663CB4-32FF-F940-9C56-F46BFD970551}"/>
              </a:ext>
            </a:extLst>
          </p:cNvPr>
          <p:cNvSpPr txBox="1"/>
          <p:nvPr userDrawn="1"/>
        </p:nvSpPr>
        <p:spPr>
          <a:xfrm>
            <a:off x="10559884" y="64187"/>
            <a:ext cx="1522399" cy="181062"/>
          </a:xfrm>
          <a:prstGeom prst="rect">
            <a:avLst/>
          </a:prstGeom>
          <a:noFill/>
        </p:spPr>
        <p:txBody>
          <a:bodyPr wrap="none" lIns="0" tIns="0" rIns="0" bIns="0" rtlCol="0">
            <a:spAutoFit/>
          </a:bodyPr>
          <a:lstStyle/>
          <a:p>
            <a:pPr algn="l"/>
            <a:r>
              <a:rPr lang="en-US" sz="1176">
                <a:solidFill>
                  <a:srgbClr val="F27241"/>
                </a:solidFill>
              </a:rPr>
              <a:t>Microsoft Internal Only</a:t>
            </a:r>
          </a:p>
        </p:txBody>
      </p:sp>
    </p:spTree>
    <p:extLst>
      <p:ext uri="{BB962C8B-B14F-4D97-AF65-F5344CB8AC3E}">
        <p14:creationId xmlns:p14="http://schemas.microsoft.com/office/powerpoint/2010/main" val="312719251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ransition>
    <p:fade/>
  </p:transition>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C35EA4"/>
          </p15:clr>
        </p15:guide>
        <p15:guide id="17" pos="7469">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637">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00654262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156754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54761548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Lst>
  <p:transition>
    <p:fade/>
  </p:transition>
  <p:hf sldNum="0" hdr="0" dt="0"/>
  <p:txStyles>
    <p:titleStyle>
      <a:lvl1pPr algn="l" defTabSz="685658" rtl="0" eaLnBrk="1" latinLnBrk="0" hangingPunct="1">
        <a:lnSpc>
          <a:spcPct val="90000"/>
        </a:lnSpc>
        <a:spcBef>
          <a:spcPct val="0"/>
        </a:spcBef>
        <a:buNone/>
        <a:defRPr lang="en-US" sz="3528"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65" marR="0" indent="-252065" algn="l" defTabSz="685658" rtl="0" eaLnBrk="1" fontAlgn="auto" latinLnBrk="0" hangingPunct="1">
        <a:lnSpc>
          <a:spcPct val="90000"/>
        </a:lnSpc>
        <a:spcBef>
          <a:spcPct val="20000"/>
        </a:spcBef>
        <a:spcAft>
          <a:spcPts val="0"/>
        </a:spcAft>
        <a:buClrTx/>
        <a:buSzPct val="90000"/>
        <a:buFont typeface="Arial" pitchFamily="34" charset="0"/>
        <a:buChar char="•"/>
        <a:tabLst/>
        <a:defRPr sz="279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29444" marR="0" indent="-177379" algn="l" defTabSz="685658"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588152" marR="0" indent="-168044" algn="l" defTabSz="685658"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756196" marR="0" indent="-168044" algn="l" defTabSz="685658"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924239" marR="0" indent="-168044" algn="l" defTabSz="685658"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1885557" indent="-171414" algn="l" defTabSz="685658"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87" indent="-171414" algn="l" defTabSz="685658"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216" indent="-171414" algn="l" defTabSz="685658"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045" indent="-171414" algn="l" defTabSz="685658"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58" rtl="0" eaLnBrk="1" latinLnBrk="0" hangingPunct="1">
        <a:defRPr sz="1324" kern="1200">
          <a:solidFill>
            <a:schemeClr val="tx1"/>
          </a:solidFill>
          <a:latin typeface="+mn-lt"/>
          <a:ea typeface="+mn-ea"/>
          <a:cs typeface="+mn-cs"/>
        </a:defRPr>
      </a:lvl1pPr>
      <a:lvl2pPr marL="342828" algn="l" defTabSz="685658" rtl="0" eaLnBrk="1" latinLnBrk="0" hangingPunct="1">
        <a:defRPr sz="1324" kern="1200">
          <a:solidFill>
            <a:schemeClr val="tx1"/>
          </a:solidFill>
          <a:latin typeface="+mn-lt"/>
          <a:ea typeface="+mn-ea"/>
          <a:cs typeface="+mn-cs"/>
        </a:defRPr>
      </a:lvl2pPr>
      <a:lvl3pPr marL="685658" algn="l" defTabSz="685658" rtl="0" eaLnBrk="1" latinLnBrk="0" hangingPunct="1">
        <a:defRPr sz="1324" kern="1200">
          <a:solidFill>
            <a:schemeClr val="tx1"/>
          </a:solidFill>
          <a:latin typeface="+mn-lt"/>
          <a:ea typeface="+mn-ea"/>
          <a:cs typeface="+mn-cs"/>
        </a:defRPr>
      </a:lvl3pPr>
      <a:lvl4pPr marL="1028486" algn="l" defTabSz="685658" rtl="0" eaLnBrk="1" latinLnBrk="0" hangingPunct="1">
        <a:defRPr sz="1324" kern="1200">
          <a:solidFill>
            <a:schemeClr val="tx1"/>
          </a:solidFill>
          <a:latin typeface="+mn-lt"/>
          <a:ea typeface="+mn-ea"/>
          <a:cs typeface="+mn-cs"/>
        </a:defRPr>
      </a:lvl4pPr>
      <a:lvl5pPr marL="1371315" algn="l" defTabSz="685658" rtl="0" eaLnBrk="1" latinLnBrk="0" hangingPunct="1">
        <a:defRPr sz="1324" kern="1200">
          <a:solidFill>
            <a:schemeClr val="tx1"/>
          </a:solidFill>
          <a:latin typeface="+mn-lt"/>
          <a:ea typeface="+mn-ea"/>
          <a:cs typeface="+mn-cs"/>
        </a:defRPr>
      </a:lvl5pPr>
      <a:lvl6pPr marL="1714144" algn="l" defTabSz="685658" rtl="0" eaLnBrk="1" latinLnBrk="0" hangingPunct="1">
        <a:defRPr sz="1324" kern="1200">
          <a:solidFill>
            <a:schemeClr val="tx1"/>
          </a:solidFill>
          <a:latin typeface="+mn-lt"/>
          <a:ea typeface="+mn-ea"/>
          <a:cs typeface="+mn-cs"/>
        </a:defRPr>
      </a:lvl6pPr>
      <a:lvl7pPr marL="2056973" algn="l" defTabSz="685658" rtl="0" eaLnBrk="1" latinLnBrk="0" hangingPunct="1">
        <a:defRPr sz="1324" kern="1200">
          <a:solidFill>
            <a:schemeClr val="tx1"/>
          </a:solidFill>
          <a:latin typeface="+mn-lt"/>
          <a:ea typeface="+mn-ea"/>
          <a:cs typeface="+mn-cs"/>
        </a:defRPr>
      </a:lvl7pPr>
      <a:lvl8pPr marL="2399801" algn="l" defTabSz="685658" rtl="0" eaLnBrk="1" latinLnBrk="0" hangingPunct="1">
        <a:defRPr sz="1324" kern="1200">
          <a:solidFill>
            <a:schemeClr val="tx1"/>
          </a:solidFill>
          <a:latin typeface="+mn-lt"/>
          <a:ea typeface="+mn-ea"/>
          <a:cs typeface="+mn-cs"/>
        </a:defRPr>
      </a:lvl8pPr>
      <a:lvl9pPr marL="2742630" algn="l" defTabSz="685658"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40"/>
          <a:stretch>
            <a:fillRect/>
          </a:stretch>
        </p:blipFill>
        <p:spPr>
          <a:xfrm rot="5400000">
            <a:off x="9044630" y="3216843"/>
            <a:ext cx="6858000" cy="424314"/>
          </a:xfrm>
          <a:prstGeom prst="rect">
            <a:avLst/>
          </a:prstGeom>
        </p:spPr>
      </p:pic>
      <p:sp>
        <p:nvSpPr>
          <p:cNvPr id="2" name="Title Placeholder 1"/>
          <p:cNvSpPr>
            <a:spLocks noGrp="1"/>
          </p:cNvSpPr>
          <p:nvPr>
            <p:ph type="title"/>
          </p:nvPr>
        </p:nvSpPr>
        <p:spPr>
          <a:xfrm>
            <a:off x="426424" y="224113"/>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110106"/>
            <a:ext cx="11336039" cy="2252540"/>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rot="5400000">
            <a:off x="9755483" y="3012080"/>
            <a:ext cx="6858623" cy="833218"/>
          </a:xfrm>
          <a:prstGeom prst="rect">
            <a:avLst/>
          </a:prstGeom>
        </p:spPr>
      </p:pic>
    </p:spTree>
    <p:extLst>
      <p:ext uri="{BB962C8B-B14F-4D97-AF65-F5344CB8AC3E}">
        <p14:creationId xmlns:p14="http://schemas.microsoft.com/office/powerpoint/2010/main" val="307668865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 id="2147483766" r:id="rId31"/>
    <p:sldLayoutId id="2147483767" r:id="rId32"/>
    <p:sldLayoutId id="2147483768" r:id="rId33"/>
    <p:sldLayoutId id="2147483769" r:id="rId34"/>
    <p:sldLayoutId id="2147483770" r:id="rId35"/>
    <p:sldLayoutId id="2147483771" r:id="rId36"/>
    <p:sldLayoutId id="2147483772" r:id="rId37"/>
    <p:sldLayoutId id="2147483798" r:id="rId38"/>
  </p:sldLayoutIdLst>
  <p:transition>
    <p:fade/>
  </p:transition>
  <p:hf sldNum="0" hdr="0" dt="0"/>
  <p:txStyles>
    <p:titleStyle>
      <a:lvl1pPr algn="l" defTabSz="914192" rtl="0" eaLnBrk="1" latinLnBrk="0" hangingPunct="1">
        <a:lnSpc>
          <a:spcPct val="90000"/>
        </a:lnSpc>
        <a:spcBef>
          <a:spcPct val="0"/>
        </a:spcBef>
        <a:buNone/>
        <a:defRPr lang="en-US" sz="3400"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24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800" kern="1200" spc="0" baseline="0">
          <a:solidFill>
            <a:srgbClr val="000000"/>
          </a:solidFill>
          <a:latin typeface="+mj-lt"/>
          <a:ea typeface="+mn-ea"/>
          <a:cs typeface="+mn-cs"/>
        </a:defRPr>
      </a:lvl3pPr>
      <a:lvl4pPr marL="672161"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371"/>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7">
          <p15:clr>
            <a:srgbClr val="C35EA4"/>
          </p15:clr>
        </p15:guide>
        <p15:guide id="5" pos="2660">
          <p15:clr>
            <a:srgbClr val="C35EA4"/>
          </p15:clr>
        </p15:guide>
        <p15:guide id="6" pos="2806">
          <p15:clr>
            <a:srgbClr val="C35EA4"/>
          </p15:clr>
        </p15:guide>
        <p15:guide id="7" pos="3921">
          <p15:clr>
            <a:srgbClr val="C35EA4"/>
          </p15:clr>
        </p15:guide>
        <p15:guide id="8" pos="4069">
          <p15:clr>
            <a:srgbClr val="C35EA4"/>
          </p15:clr>
        </p15:guide>
        <p15:guide id="9" pos="5181">
          <p15:clr>
            <a:srgbClr val="C35EA4"/>
          </p15:clr>
        </p15:guide>
        <p15:guide id="10" pos="5327">
          <p15:clr>
            <a:srgbClr val="C35EA4"/>
          </p15:clr>
        </p15:guide>
        <p15:guide id="11" pos="6444">
          <p15:clr>
            <a:srgbClr val="C35EA4"/>
          </p15:clr>
        </p15:guide>
        <p15:guide id="12" pos="6590">
          <p15:clr>
            <a:srgbClr val="C35EA4"/>
          </p15:clr>
        </p15:guide>
        <p15:guide id="16" pos="279">
          <p15:clr>
            <a:srgbClr val="F26B43"/>
          </p15:clr>
        </p15:guide>
        <p15:guide id="17" pos="7710">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84808462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83.xml"/><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83.xml"/><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8" Type="http://schemas.openxmlformats.org/officeDocument/2006/relationships/hyperlink" Target="https://docs.microsoft.com/en-us/power-bi/admin/service-premium-large-models" TargetMode="External"/><Relationship Id="rId3" Type="http://schemas.openxmlformats.org/officeDocument/2006/relationships/hyperlink" Target="https://docs.microsoft.com/en-us/power-bi/guidance/center-of-excellence-business-intelligence-solution-architecture#data-consumption" TargetMode="External"/><Relationship Id="rId7" Type="http://schemas.openxmlformats.org/officeDocument/2006/relationships/hyperlink" Target="https://www.jamesserra.com/archive/2019/12/azure-synapse-analytics-power-bi-concurrency/" TargetMode="External"/><Relationship Id="rId2" Type="http://schemas.openxmlformats.org/officeDocument/2006/relationships/image" Target="../media/image59.png"/><Relationship Id="rId1" Type="http://schemas.openxmlformats.org/officeDocument/2006/relationships/slideLayout" Target="../slideLayouts/slideLayout91.xml"/><Relationship Id="rId6" Type="http://schemas.openxmlformats.org/officeDocument/2006/relationships/hyperlink" Target="https://docs.microsoft.com/en-us/azure/synapse-analytics/sql-data-warehouse/sql-data-warehouse-overview-what-is" TargetMode="External"/><Relationship Id="rId5" Type="http://schemas.openxmlformats.org/officeDocument/2006/relationships/hyperlink" Target="https://github.com/mspnp/azure-sqldw-enterprise-bi" TargetMode="External"/><Relationship Id="rId4" Type="http://schemas.openxmlformats.org/officeDocument/2006/relationships/hyperlink" Target="https://docs.microsoft.com/en-us/azure/architecture/reference-architectures/data/enterprise-bi-synapse" TargetMode="External"/><Relationship Id="rId9" Type="http://schemas.openxmlformats.org/officeDocument/2006/relationships/hyperlink" Target="https://docs.microsoft.com/en-us/power-bi/connect-data/service-azure-sql-data-warehouse-with-direct-connect" TargetMode="Externa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0.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notesSlide" Target="../notesSlides/notesSlide2.xml"/><Relationship Id="rId1" Type="http://schemas.openxmlformats.org/officeDocument/2006/relationships/slideLayout" Target="../slideLayouts/slideLayout65.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s>
</file>

<file path=ppt/slides/_rels/slide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83.xml"/><Relationship Id="rId4" Type="http://schemas.openxmlformats.org/officeDocument/2006/relationships/image" Target="../media/image58.svg"/></Relationships>
</file>

<file path=ppt/slides/_rels/slide6.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83.xml"/><Relationship Id="rId5" Type="http://schemas.openxmlformats.org/officeDocument/2006/relationships/image" Target="../media/image56.png"/><Relationship Id="rId4" Type="http://schemas.openxmlformats.org/officeDocument/2006/relationships/hyperlink" Target="https://docs.microsoft.com/en-us/azure/synapse-analytics/sql-data-warehouse/sql-data-warehouse-overview-what-is#synapse-sql-pool-in-azure-synaps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83.xml"/><Relationship Id="rId5" Type="http://schemas.openxmlformats.org/officeDocument/2006/relationships/image" Target="../media/image56.png"/><Relationship Id="rId4" Type="http://schemas.openxmlformats.org/officeDocument/2006/relationships/hyperlink" Target="https://docs.microsoft.com/en-us/azure/synapse-analytics/sql-data-warehouse/sql-data-warehouse-overview-what-is#synapse-sql-pool-in-azure-synapse"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CB45E-4465-4090-B749-55958DC155E4}"/>
              </a:ext>
            </a:extLst>
          </p:cNvPr>
          <p:cNvSpPr>
            <a:spLocks noGrp="1"/>
          </p:cNvSpPr>
          <p:nvPr>
            <p:ph type="title"/>
          </p:nvPr>
        </p:nvSpPr>
        <p:spPr>
          <a:xfrm>
            <a:off x="584201" y="2975741"/>
            <a:ext cx="9144000" cy="861774"/>
          </a:xfrm>
        </p:spPr>
        <p:txBody>
          <a:bodyPr/>
          <a:lstStyle/>
          <a:p>
            <a:r>
              <a:rPr lang="en-US" sz="2800" b="1"/>
              <a:t>Should Data Models be Implemented in </a:t>
            </a:r>
            <a:br>
              <a:rPr lang="en-US" sz="2800" b="1"/>
            </a:br>
            <a:r>
              <a:rPr lang="en-US" sz="2800" b="1">
                <a:solidFill>
                  <a:srgbClr val="00B0F0"/>
                </a:solidFill>
              </a:rPr>
              <a:t>Azure</a:t>
            </a:r>
            <a:r>
              <a:rPr lang="en-US" sz="2800" b="1"/>
              <a:t> </a:t>
            </a:r>
            <a:r>
              <a:rPr lang="en-US" sz="2800" b="1">
                <a:solidFill>
                  <a:srgbClr val="00B0F0"/>
                </a:solidFill>
              </a:rPr>
              <a:t>Synapse Analytics </a:t>
            </a:r>
            <a:r>
              <a:rPr lang="en-US" sz="2800" b="1"/>
              <a:t>or </a:t>
            </a:r>
            <a:r>
              <a:rPr lang="en-US" sz="2800" b="1">
                <a:solidFill>
                  <a:srgbClr val="00B0F0"/>
                </a:solidFill>
              </a:rPr>
              <a:t>Power BI Premium</a:t>
            </a:r>
            <a:r>
              <a:rPr lang="en-US" sz="2800" b="1"/>
              <a:t>?</a:t>
            </a:r>
          </a:p>
        </p:txBody>
      </p:sp>
      <p:sp>
        <p:nvSpPr>
          <p:cNvPr id="3" name="Text Placeholder 2">
            <a:extLst>
              <a:ext uri="{FF2B5EF4-FFF2-40B4-BE49-F238E27FC236}">
                <a16:creationId xmlns:a16="http://schemas.microsoft.com/office/drawing/2014/main" id="{5F8803D8-32E7-4BE4-8892-AB0A33ACD3E8}"/>
              </a:ext>
            </a:extLst>
          </p:cNvPr>
          <p:cNvSpPr>
            <a:spLocks noGrp="1"/>
          </p:cNvSpPr>
          <p:nvPr>
            <p:ph type="body" sz="quarter" idx="12"/>
          </p:nvPr>
        </p:nvSpPr>
        <p:spPr>
          <a:xfrm>
            <a:off x="584201" y="4106680"/>
            <a:ext cx="9144000" cy="738664"/>
          </a:xfrm>
        </p:spPr>
        <p:txBody>
          <a:bodyPr/>
          <a:lstStyle/>
          <a:p>
            <a:r>
              <a:rPr lang="en-US" sz="1600" dirty="0"/>
              <a:t>Kyle Akepanidtaworn, Global Cloud Solution Architect (Power BI Champ)</a:t>
            </a:r>
          </a:p>
          <a:p>
            <a:r>
              <a:rPr lang="en-US" sz="1600" dirty="0"/>
              <a:t>Gananda Hayardisi, Area Cloud Solution Architect (Power BI Champ)</a:t>
            </a:r>
          </a:p>
          <a:p>
            <a:r>
              <a:rPr lang="en-US" sz="1600" dirty="0"/>
              <a:t>Wipada Chanthaweethip, Area Cloud Solution Architect (Power BI Champ)</a:t>
            </a:r>
          </a:p>
        </p:txBody>
      </p:sp>
    </p:spTree>
    <p:extLst>
      <p:ext uri="{BB962C8B-B14F-4D97-AF65-F5344CB8AC3E}">
        <p14:creationId xmlns:p14="http://schemas.microsoft.com/office/powerpoint/2010/main" val="293859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2A07D-F7FA-4CD3-81B6-51E23B13B73F}"/>
              </a:ext>
            </a:extLst>
          </p:cNvPr>
          <p:cNvSpPr>
            <a:spLocks noGrp="1"/>
          </p:cNvSpPr>
          <p:nvPr>
            <p:ph type="title"/>
          </p:nvPr>
        </p:nvSpPr>
        <p:spPr/>
        <p:txBody>
          <a:bodyPr/>
          <a:lstStyle/>
          <a:p>
            <a:r>
              <a:rPr lang="en-US" sz="2800"/>
              <a:t>Disadvantages</a:t>
            </a:r>
          </a:p>
        </p:txBody>
      </p:sp>
      <p:sp>
        <p:nvSpPr>
          <p:cNvPr id="4" name="TextBox 3">
            <a:extLst>
              <a:ext uri="{FF2B5EF4-FFF2-40B4-BE49-F238E27FC236}">
                <a16:creationId xmlns:a16="http://schemas.microsoft.com/office/drawing/2014/main" id="{76A36981-B928-4C0C-85A0-37683573C65A}"/>
              </a:ext>
            </a:extLst>
          </p:cNvPr>
          <p:cNvSpPr txBox="1"/>
          <p:nvPr/>
        </p:nvSpPr>
        <p:spPr>
          <a:xfrm>
            <a:off x="426424" y="980605"/>
            <a:ext cx="11137754" cy="2585323"/>
          </a:xfrm>
          <a:prstGeom prst="rect">
            <a:avLst/>
          </a:prstGeom>
          <a:noFill/>
        </p:spPr>
        <p:txBody>
          <a:bodyPr wrap="square">
            <a:spAutoFit/>
          </a:bodyPr>
          <a:lstStyle/>
          <a:p>
            <a:pPr marL="285750" indent="-285750">
              <a:buFont typeface="Arial" panose="020B0604020202020204" pitchFamily="34" charset="0"/>
              <a:buChar char="•"/>
            </a:pPr>
            <a:r>
              <a:rPr lang="en-US" dirty="0"/>
              <a:t>There is a limit of </a:t>
            </a:r>
            <a:r>
              <a:rPr lang="en-US" b="1" dirty="0">
                <a:solidFill>
                  <a:srgbClr val="0070C0"/>
                </a:solidFill>
              </a:rPr>
              <a:t>128 max concurrent queries </a:t>
            </a:r>
            <a:r>
              <a:rPr lang="en-US" dirty="0"/>
              <a:t>in SQL DW and 1,024 max open concurrent connections. When the concurrency limit is exceeded, the request goes into an internal queue where it waits to be processed. When the connection limit is exceeded, connections will be refused with an error. </a:t>
            </a:r>
          </a:p>
          <a:p>
            <a:pPr marL="285750" indent="-285750">
              <a:buFont typeface="Arial" panose="020B0604020202020204" pitchFamily="34" charset="0"/>
              <a:buChar char="•"/>
            </a:pPr>
            <a:r>
              <a:rPr lang="en-US" dirty="0"/>
              <a:t>Slower </a:t>
            </a:r>
            <a:r>
              <a:rPr lang="en-US" b="1" dirty="0"/>
              <a:t>dashboard performance </a:t>
            </a:r>
            <a:r>
              <a:rPr lang="en-US" dirty="0"/>
              <a:t>&amp; </a:t>
            </a:r>
            <a:r>
              <a:rPr lang="en-US" b="1" dirty="0" err="1"/>
              <a:t>DirectQuery</a:t>
            </a:r>
            <a:r>
              <a:rPr lang="en-US" b="1" dirty="0"/>
              <a:t> performance</a:t>
            </a:r>
            <a:r>
              <a:rPr lang="en-US" dirty="0"/>
              <a:t>. </a:t>
            </a:r>
          </a:p>
          <a:p>
            <a:pPr marL="285750" indent="-285750">
              <a:buFont typeface="Arial" panose="020B0604020202020204" pitchFamily="34" charset="0"/>
              <a:buChar char="•"/>
            </a:pPr>
            <a:r>
              <a:rPr lang="en-US" b="1" dirty="0"/>
              <a:t>Cannot</a:t>
            </a:r>
            <a:r>
              <a:rPr lang="en-US" dirty="0"/>
              <a:t> </a:t>
            </a:r>
            <a:r>
              <a:rPr lang="en-US" b="1" dirty="0"/>
              <a:t>add new columns </a:t>
            </a:r>
            <a:r>
              <a:rPr lang="en-US" dirty="0"/>
              <a:t>or create calculated column within Power BI</a:t>
            </a:r>
          </a:p>
          <a:p>
            <a:pPr marL="285750" indent="-285750">
              <a:buFont typeface="Arial" panose="020B0604020202020204" pitchFamily="34" charset="0"/>
              <a:buChar char="•"/>
            </a:pPr>
            <a:r>
              <a:rPr lang="en-US" b="1" dirty="0"/>
              <a:t>Cannot</a:t>
            </a:r>
            <a:r>
              <a:rPr lang="en-US" dirty="0"/>
              <a:t> leverage </a:t>
            </a:r>
            <a:r>
              <a:rPr lang="en-US" b="1" dirty="0"/>
              <a:t>DAX</a:t>
            </a:r>
            <a:r>
              <a:rPr lang="en-US" dirty="0"/>
              <a:t> functionality due to some limitations </a:t>
            </a:r>
          </a:p>
          <a:p>
            <a:pPr marL="285750" indent="-285750">
              <a:buFont typeface="Arial" panose="020B0604020202020204" pitchFamily="34" charset="0"/>
              <a:buChar char="•"/>
            </a:pPr>
            <a:r>
              <a:rPr lang="en-US" b="1" dirty="0"/>
              <a:t>Query load</a:t>
            </a:r>
            <a:r>
              <a:rPr lang="en-US" dirty="0"/>
              <a:t> depends on Synapse only</a:t>
            </a:r>
          </a:p>
          <a:p>
            <a:pPr marL="285750" indent="-285750">
              <a:buFont typeface="Arial" panose="020B0604020202020204" pitchFamily="34" charset="0"/>
              <a:buChar char="•"/>
            </a:pPr>
            <a:r>
              <a:rPr lang="en-US" b="1" dirty="0"/>
              <a:t>Auto date/time </a:t>
            </a:r>
            <a:r>
              <a:rPr lang="en-US" dirty="0"/>
              <a:t>is unavailable</a:t>
            </a:r>
          </a:p>
          <a:p>
            <a:pPr marL="285750" indent="-285750">
              <a:buFont typeface="Arial" panose="020B0604020202020204" pitchFamily="34" charset="0"/>
              <a:buChar char="•"/>
            </a:pPr>
            <a:r>
              <a:rPr lang="en-US" dirty="0"/>
              <a:t>Synapse can only connect to a single Power BI workspace now</a:t>
            </a:r>
          </a:p>
        </p:txBody>
      </p:sp>
    </p:spTree>
    <p:extLst>
      <p:ext uri="{BB962C8B-B14F-4D97-AF65-F5344CB8AC3E}">
        <p14:creationId xmlns:p14="http://schemas.microsoft.com/office/powerpoint/2010/main" val="131767943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664CE-82CD-41E0-917A-7205BD5652BA}"/>
              </a:ext>
            </a:extLst>
          </p:cNvPr>
          <p:cNvSpPr>
            <a:spLocks noGrp="1"/>
          </p:cNvSpPr>
          <p:nvPr>
            <p:ph type="title"/>
          </p:nvPr>
        </p:nvSpPr>
        <p:spPr>
          <a:xfrm>
            <a:off x="585216" y="3033280"/>
            <a:ext cx="11018505" cy="498527"/>
          </a:xfrm>
        </p:spPr>
        <p:txBody>
          <a:bodyPr/>
          <a:lstStyle/>
          <a:p>
            <a:r>
              <a:rPr lang="en-US" b="1">
                <a:solidFill>
                  <a:srgbClr val="00B0F0"/>
                </a:solidFill>
              </a:rPr>
              <a:t>BI Solution Pattern II</a:t>
            </a:r>
          </a:p>
        </p:txBody>
      </p:sp>
      <p:sp>
        <p:nvSpPr>
          <p:cNvPr id="3" name="Text Placeholder 2">
            <a:extLst>
              <a:ext uri="{FF2B5EF4-FFF2-40B4-BE49-F238E27FC236}">
                <a16:creationId xmlns:a16="http://schemas.microsoft.com/office/drawing/2014/main" id="{62305E6A-D14A-4A8A-B672-75BD5F4C36FD}"/>
              </a:ext>
            </a:extLst>
          </p:cNvPr>
          <p:cNvSpPr>
            <a:spLocks noGrp="1"/>
          </p:cNvSpPr>
          <p:nvPr>
            <p:ph type="body" sz="quarter" idx="12"/>
          </p:nvPr>
        </p:nvSpPr>
        <p:spPr>
          <a:xfrm>
            <a:off x="585216" y="3648370"/>
            <a:ext cx="11018505" cy="362072"/>
          </a:xfrm>
        </p:spPr>
        <p:txBody>
          <a:bodyPr/>
          <a:lstStyle/>
          <a:p>
            <a:r>
              <a:rPr lang="en-US"/>
              <a:t>Data Models in Power BI Premium</a:t>
            </a:r>
          </a:p>
        </p:txBody>
      </p:sp>
    </p:spTree>
    <p:extLst>
      <p:ext uri="{BB962C8B-B14F-4D97-AF65-F5344CB8AC3E}">
        <p14:creationId xmlns:p14="http://schemas.microsoft.com/office/powerpoint/2010/main" val="70699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DC07-7F6D-4ADD-8C5A-0FC2D8B6FAE9}"/>
              </a:ext>
            </a:extLst>
          </p:cNvPr>
          <p:cNvSpPr>
            <a:spLocks noGrp="1"/>
          </p:cNvSpPr>
          <p:nvPr>
            <p:ph type="title"/>
          </p:nvPr>
        </p:nvSpPr>
        <p:spPr/>
        <p:txBody>
          <a:bodyPr/>
          <a:lstStyle/>
          <a:p>
            <a:r>
              <a:rPr lang="en-US" sz="2800"/>
              <a:t>Reference Architecture</a:t>
            </a:r>
          </a:p>
        </p:txBody>
      </p:sp>
      <p:grpSp>
        <p:nvGrpSpPr>
          <p:cNvPr id="21" name="Group 20">
            <a:extLst>
              <a:ext uri="{FF2B5EF4-FFF2-40B4-BE49-F238E27FC236}">
                <a16:creationId xmlns:a16="http://schemas.microsoft.com/office/drawing/2014/main" id="{46EF8EC8-1F30-4884-BA0D-A86D4E709D5F}"/>
              </a:ext>
            </a:extLst>
          </p:cNvPr>
          <p:cNvGrpSpPr/>
          <p:nvPr/>
        </p:nvGrpSpPr>
        <p:grpSpPr>
          <a:xfrm>
            <a:off x="1320945" y="980605"/>
            <a:ext cx="9284106" cy="5613624"/>
            <a:chOff x="426424" y="972813"/>
            <a:chExt cx="9284106" cy="5613624"/>
          </a:xfrm>
        </p:grpSpPr>
        <p:sp>
          <p:nvSpPr>
            <p:cNvPr id="342" name="Rectangle 341">
              <a:extLst>
                <a:ext uri="{FF2B5EF4-FFF2-40B4-BE49-F238E27FC236}">
                  <a16:creationId xmlns:a16="http://schemas.microsoft.com/office/drawing/2014/main" id="{6C84C8E9-F02B-4662-B8A1-9B5149D32C1F}"/>
                </a:ext>
              </a:extLst>
            </p:cNvPr>
            <p:cNvSpPr/>
            <p:nvPr/>
          </p:nvSpPr>
          <p:spPr bwMode="auto">
            <a:xfrm>
              <a:off x="7738136" y="988670"/>
              <a:ext cx="1821251" cy="4682201"/>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3F26284E-287C-45CE-BE3B-9A9150294051}"/>
                </a:ext>
              </a:extLst>
            </p:cNvPr>
            <p:cNvSpPr/>
            <p:nvPr/>
          </p:nvSpPr>
          <p:spPr bwMode="auto">
            <a:xfrm>
              <a:off x="4969208" y="978966"/>
              <a:ext cx="2037497" cy="4673735"/>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AA71F304-2FE3-4257-82D7-6CD0854697D8}"/>
                </a:ext>
              </a:extLst>
            </p:cNvPr>
            <p:cNvSpPr/>
            <p:nvPr/>
          </p:nvSpPr>
          <p:spPr bwMode="auto">
            <a:xfrm>
              <a:off x="2632613" y="972813"/>
              <a:ext cx="1727581" cy="4679888"/>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TextBox 345">
              <a:extLst>
                <a:ext uri="{FF2B5EF4-FFF2-40B4-BE49-F238E27FC236}">
                  <a16:creationId xmlns:a16="http://schemas.microsoft.com/office/drawing/2014/main" id="{9E17F711-7062-4294-9FE1-915D558C5AF2}"/>
                </a:ext>
              </a:extLst>
            </p:cNvPr>
            <p:cNvSpPr txBox="1"/>
            <p:nvPr/>
          </p:nvSpPr>
          <p:spPr>
            <a:xfrm>
              <a:off x="864800" y="2173698"/>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Logs (unstructured)</a:t>
              </a:r>
            </a:p>
          </p:txBody>
        </p:sp>
        <p:sp>
          <p:nvSpPr>
            <p:cNvPr id="347" name="TextBox 346">
              <a:extLst>
                <a:ext uri="{FF2B5EF4-FFF2-40B4-BE49-F238E27FC236}">
                  <a16:creationId xmlns:a16="http://schemas.microsoft.com/office/drawing/2014/main" id="{F5AA7A59-428F-44A9-836E-9C3D7B6B3F81}"/>
                </a:ext>
              </a:extLst>
            </p:cNvPr>
            <p:cNvSpPr txBox="1"/>
            <p:nvPr/>
          </p:nvSpPr>
          <p:spPr>
            <a:xfrm>
              <a:off x="864800" y="2997372"/>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Media (unstructured)</a:t>
              </a:r>
            </a:p>
          </p:txBody>
        </p:sp>
        <p:sp>
          <p:nvSpPr>
            <p:cNvPr id="348" name="TextBox 347">
              <a:extLst>
                <a:ext uri="{FF2B5EF4-FFF2-40B4-BE49-F238E27FC236}">
                  <a16:creationId xmlns:a16="http://schemas.microsoft.com/office/drawing/2014/main" id="{5C4546D2-C4DC-48A5-A403-E8B3429D4841}"/>
                </a:ext>
              </a:extLst>
            </p:cNvPr>
            <p:cNvSpPr txBox="1"/>
            <p:nvPr/>
          </p:nvSpPr>
          <p:spPr>
            <a:xfrm>
              <a:off x="864799" y="3821046"/>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Files (unstructured)</a:t>
              </a:r>
            </a:p>
          </p:txBody>
        </p:sp>
        <p:sp>
          <p:nvSpPr>
            <p:cNvPr id="349" name="TextBox 348">
              <a:extLst>
                <a:ext uri="{FF2B5EF4-FFF2-40B4-BE49-F238E27FC236}">
                  <a16:creationId xmlns:a16="http://schemas.microsoft.com/office/drawing/2014/main" id="{2EAA7EEA-DE89-47F6-89AC-F638F2EF3095}"/>
                </a:ext>
              </a:extLst>
            </p:cNvPr>
            <p:cNvSpPr txBox="1"/>
            <p:nvPr/>
          </p:nvSpPr>
          <p:spPr>
            <a:xfrm>
              <a:off x="864799" y="4561621"/>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Business/</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ustom app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structured)</a:t>
              </a:r>
            </a:p>
          </p:txBody>
        </p:sp>
        <p:sp>
          <p:nvSpPr>
            <p:cNvPr id="350" name="PhotoCollection_E7AA" title="Icon of a stacked photo of a landscape">
              <a:extLst>
                <a:ext uri="{FF2B5EF4-FFF2-40B4-BE49-F238E27FC236}">
                  <a16:creationId xmlns:a16="http://schemas.microsoft.com/office/drawing/2014/main" id="{BFF68636-5473-4CBD-BC9F-29D77860453F}"/>
                </a:ext>
              </a:extLst>
            </p:cNvPr>
            <p:cNvSpPr>
              <a:spLocks noChangeAspect="1" noEditPoints="1"/>
            </p:cNvSpPr>
            <p:nvPr/>
          </p:nvSpPr>
          <p:spPr bwMode="auto">
            <a:xfrm>
              <a:off x="426424" y="3038663"/>
              <a:ext cx="326956" cy="24981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1" name="Copy_E8C8" title="Icon of two documents stacked together">
              <a:extLst>
                <a:ext uri="{FF2B5EF4-FFF2-40B4-BE49-F238E27FC236}">
                  <a16:creationId xmlns:a16="http://schemas.microsoft.com/office/drawing/2014/main" id="{01CB3020-2732-42A8-8316-D2B8EF6BA964}"/>
                </a:ext>
              </a:extLst>
            </p:cNvPr>
            <p:cNvSpPr>
              <a:spLocks noChangeAspect="1" noEditPoints="1"/>
            </p:cNvSpPr>
            <p:nvPr/>
          </p:nvSpPr>
          <p:spPr bwMode="auto">
            <a:xfrm>
              <a:off x="458896" y="3836106"/>
              <a:ext cx="262012" cy="302281"/>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2" name="Browser_2" title="Icon of a browser window with a home symbol inside">
              <a:extLst>
                <a:ext uri="{FF2B5EF4-FFF2-40B4-BE49-F238E27FC236}">
                  <a16:creationId xmlns:a16="http://schemas.microsoft.com/office/drawing/2014/main" id="{98D5CDF0-4EF0-42BD-A812-FC6326C8856E}"/>
                </a:ext>
              </a:extLst>
            </p:cNvPr>
            <p:cNvSpPr>
              <a:spLocks noChangeAspect="1" noEditPoints="1"/>
            </p:cNvSpPr>
            <p:nvPr/>
          </p:nvSpPr>
          <p:spPr bwMode="auto">
            <a:xfrm>
              <a:off x="428287" y="4673520"/>
              <a:ext cx="323231" cy="274801"/>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3" name="Script_F03A" title="Icon of an unrolled document with writing on it">
              <a:extLst>
                <a:ext uri="{FF2B5EF4-FFF2-40B4-BE49-F238E27FC236}">
                  <a16:creationId xmlns:a16="http://schemas.microsoft.com/office/drawing/2014/main" id="{D6C6E50E-E1A5-4131-989A-2BEA5C62D2E7}"/>
                </a:ext>
              </a:extLst>
            </p:cNvPr>
            <p:cNvSpPr>
              <a:spLocks noChangeAspect="1" noEditPoints="1"/>
            </p:cNvSpPr>
            <p:nvPr/>
          </p:nvSpPr>
          <p:spPr bwMode="auto">
            <a:xfrm>
              <a:off x="438835" y="2188758"/>
              <a:ext cx="302135" cy="302281"/>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4" name="Right Bracket 353">
              <a:extLst>
                <a:ext uri="{FF2B5EF4-FFF2-40B4-BE49-F238E27FC236}">
                  <a16:creationId xmlns:a16="http://schemas.microsoft.com/office/drawing/2014/main" id="{D947E78A-4EA2-4BEE-846F-D3AFCAB285D8}"/>
                </a:ext>
              </a:extLst>
            </p:cNvPr>
            <p:cNvSpPr/>
            <p:nvPr/>
          </p:nvSpPr>
          <p:spPr>
            <a:xfrm>
              <a:off x="1772936" y="1583235"/>
              <a:ext cx="169190" cy="3737560"/>
            </a:xfrm>
            <a:prstGeom prst="rightBracket">
              <a:avLst>
                <a:gd name="adj" fmla="val 0"/>
              </a:avLst>
            </a:prstGeom>
            <a:noFill/>
            <a:ln w="19050" cap="flat" cmpd="sng" algn="ctr">
              <a:solidFill>
                <a:srgbClr val="0078D4"/>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cxnSp>
          <p:nvCxnSpPr>
            <p:cNvPr id="355" name="Straight Arrow Connector 354">
              <a:extLst>
                <a:ext uri="{FF2B5EF4-FFF2-40B4-BE49-F238E27FC236}">
                  <a16:creationId xmlns:a16="http://schemas.microsoft.com/office/drawing/2014/main" id="{6B5726F5-DF5B-4A1C-995F-7D4CA8FB7A1B}"/>
                </a:ext>
              </a:extLst>
            </p:cNvPr>
            <p:cNvCxnSpPr>
              <a:cxnSpLocks/>
            </p:cNvCxnSpPr>
            <p:nvPr/>
          </p:nvCxnSpPr>
          <p:spPr>
            <a:xfrm>
              <a:off x="1942126" y="3173847"/>
              <a:ext cx="632109" cy="0"/>
            </a:xfrm>
            <a:prstGeom prst="straightConnector1">
              <a:avLst/>
            </a:prstGeom>
            <a:noFill/>
            <a:ln w="19050" cap="flat" cmpd="sng" algn="ctr">
              <a:solidFill>
                <a:srgbClr val="0078D4"/>
              </a:solidFill>
              <a:prstDash val="solid"/>
              <a:headEnd type="none" w="lg" len="med"/>
              <a:tailEnd type="arrow" w="lg" len="sm"/>
            </a:ln>
            <a:effectLst/>
          </p:spPr>
        </p:cxnSp>
        <p:sp>
          <p:nvSpPr>
            <p:cNvPr id="359" name="TextBox 358">
              <a:extLst>
                <a:ext uri="{FF2B5EF4-FFF2-40B4-BE49-F238E27FC236}">
                  <a16:creationId xmlns:a16="http://schemas.microsoft.com/office/drawing/2014/main" id="{36F97A8A-23D5-4138-A19D-85D92522A932}"/>
                </a:ext>
              </a:extLst>
            </p:cNvPr>
            <p:cNvSpPr txBox="1"/>
            <p:nvPr/>
          </p:nvSpPr>
          <p:spPr>
            <a:xfrm>
              <a:off x="2394391" y="1164591"/>
              <a:ext cx="2188904"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Storage</a:t>
              </a:r>
            </a:p>
          </p:txBody>
        </p:sp>
        <p:sp>
          <p:nvSpPr>
            <p:cNvPr id="361" name="TextBox 360">
              <a:extLst>
                <a:ext uri="{FF2B5EF4-FFF2-40B4-BE49-F238E27FC236}">
                  <a16:creationId xmlns:a16="http://schemas.microsoft.com/office/drawing/2014/main" id="{D51780CF-895F-490B-86CE-713871096CB7}"/>
                </a:ext>
              </a:extLst>
            </p:cNvPr>
            <p:cNvSpPr txBox="1"/>
            <p:nvPr/>
          </p:nvSpPr>
          <p:spPr>
            <a:xfrm>
              <a:off x="5419581" y="1164591"/>
              <a:ext cx="1090150"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Serving</a:t>
              </a:r>
            </a:p>
          </p:txBody>
        </p:sp>
        <p:grpSp>
          <p:nvGrpSpPr>
            <p:cNvPr id="362" name="Group 361">
              <a:extLst>
                <a:ext uri="{FF2B5EF4-FFF2-40B4-BE49-F238E27FC236}">
                  <a16:creationId xmlns:a16="http://schemas.microsoft.com/office/drawing/2014/main" id="{28736625-BBE1-45B5-9819-03634FD4D4ED}"/>
                </a:ext>
              </a:extLst>
            </p:cNvPr>
            <p:cNvGrpSpPr/>
            <p:nvPr/>
          </p:nvGrpSpPr>
          <p:grpSpPr>
            <a:xfrm>
              <a:off x="7571600" y="6192395"/>
              <a:ext cx="427888" cy="365043"/>
              <a:chOff x="8436858" y="2535046"/>
              <a:chExt cx="1539405" cy="1630683"/>
            </a:xfrm>
            <a:noFill/>
          </p:grpSpPr>
          <p:sp>
            <p:nvSpPr>
              <p:cNvPr id="363" name="Freeform 764">
                <a:extLst>
                  <a:ext uri="{FF2B5EF4-FFF2-40B4-BE49-F238E27FC236}">
                    <a16:creationId xmlns:a16="http://schemas.microsoft.com/office/drawing/2014/main" id="{138DC8A3-BA69-47AD-8929-4D4D7F9DE524}"/>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4" name="Freeform 785">
                <a:extLst>
                  <a:ext uri="{FF2B5EF4-FFF2-40B4-BE49-F238E27FC236}">
                    <a16:creationId xmlns:a16="http://schemas.microsoft.com/office/drawing/2014/main" id="{9F8E9137-AD3C-4294-AA41-56FF8940BE7F}"/>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rgbClr val="243A5E"/>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nvGrpSpPr>
            <p:cNvPr id="365" name="Group 364">
              <a:extLst>
                <a:ext uri="{FF2B5EF4-FFF2-40B4-BE49-F238E27FC236}">
                  <a16:creationId xmlns:a16="http://schemas.microsoft.com/office/drawing/2014/main" id="{BA8EFDAD-17AD-4C3B-84A1-056D1FA1E4E7}"/>
                </a:ext>
              </a:extLst>
            </p:cNvPr>
            <p:cNvGrpSpPr/>
            <p:nvPr/>
          </p:nvGrpSpPr>
          <p:grpSpPr>
            <a:xfrm>
              <a:off x="2111333" y="5869761"/>
              <a:ext cx="7599197" cy="360829"/>
              <a:chOff x="457200" y="5592008"/>
              <a:chExt cx="11273952" cy="352842"/>
            </a:xfrm>
          </p:grpSpPr>
          <p:sp>
            <p:nvSpPr>
              <p:cNvPr id="366" name="Freeform 230">
                <a:extLst>
                  <a:ext uri="{FF2B5EF4-FFF2-40B4-BE49-F238E27FC236}">
                    <a16:creationId xmlns:a16="http://schemas.microsoft.com/office/drawing/2014/main" id="{ED738AC4-1663-4F63-B6C7-F1BDCC7DD29C}"/>
                  </a:ext>
                </a:extLst>
              </p:cNvPr>
              <p:cNvSpPr/>
              <p:nvPr/>
            </p:nvSpPr>
            <p:spPr bwMode="auto">
              <a:xfrm>
                <a:off x="457200" y="5592008"/>
                <a:ext cx="11273952" cy="118937"/>
              </a:xfrm>
              <a:custGeom>
                <a:avLst/>
                <a:gdLst>
                  <a:gd name="connsiteX0" fmla="*/ 0 w 6119446"/>
                  <a:gd name="connsiteY0" fmla="*/ 0 h 464234"/>
                  <a:gd name="connsiteX1" fmla="*/ 0 w 6119446"/>
                  <a:gd name="connsiteY1" fmla="*/ 464234 h 464234"/>
                  <a:gd name="connsiteX2" fmla="*/ 6119446 w 6119446"/>
                  <a:gd name="connsiteY2" fmla="*/ 464234 h 464234"/>
                  <a:gd name="connsiteX3" fmla="*/ 6119446 w 6119446"/>
                  <a:gd name="connsiteY3" fmla="*/ 14068 h 464234"/>
                </a:gdLst>
                <a:ahLst/>
                <a:cxnLst>
                  <a:cxn ang="0">
                    <a:pos x="connsiteX0" y="connsiteY0"/>
                  </a:cxn>
                  <a:cxn ang="0">
                    <a:pos x="connsiteX1" y="connsiteY1"/>
                  </a:cxn>
                  <a:cxn ang="0">
                    <a:pos x="connsiteX2" y="connsiteY2"/>
                  </a:cxn>
                  <a:cxn ang="0">
                    <a:pos x="connsiteX3" y="connsiteY3"/>
                  </a:cxn>
                </a:cxnLst>
                <a:rect l="l" t="t" r="r" b="b"/>
                <a:pathLst>
                  <a:path w="6119446" h="464234">
                    <a:moveTo>
                      <a:pt x="0" y="0"/>
                    </a:moveTo>
                    <a:lnTo>
                      <a:pt x="0" y="464234"/>
                    </a:lnTo>
                    <a:lnTo>
                      <a:pt x="6119446" y="464234"/>
                    </a:lnTo>
                    <a:lnTo>
                      <a:pt x="6119446" y="14068"/>
                    </a:lnTo>
                  </a:path>
                </a:pathLst>
              </a:custGeom>
              <a:noFill/>
              <a:ln w="12700" cap="rnd" cmpd="sng" algn="ctr">
                <a:solidFill>
                  <a:srgbClr val="000000"/>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367" name="Straight Connector 366">
                <a:extLst>
                  <a:ext uri="{FF2B5EF4-FFF2-40B4-BE49-F238E27FC236}">
                    <a16:creationId xmlns:a16="http://schemas.microsoft.com/office/drawing/2014/main" id="{4FD553A7-9AA8-4E11-B004-CF20C43D6A54}"/>
                  </a:ext>
                </a:extLst>
              </p:cNvPr>
              <p:cNvCxnSpPr/>
              <p:nvPr/>
            </p:nvCxnSpPr>
            <p:spPr>
              <a:xfrm>
                <a:off x="6096000" y="5710947"/>
                <a:ext cx="0" cy="233903"/>
              </a:xfrm>
              <a:prstGeom prst="line">
                <a:avLst/>
              </a:prstGeom>
              <a:noFill/>
              <a:ln w="12700" cap="flat" cmpd="sng" algn="ctr">
                <a:solidFill>
                  <a:srgbClr val="000000"/>
                </a:solidFill>
                <a:prstDash val="solid"/>
                <a:headEnd type="none"/>
                <a:tailEnd type="triangle"/>
              </a:ln>
              <a:effectLst/>
            </p:spPr>
          </p:cxnSp>
        </p:grpSp>
        <p:sp>
          <p:nvSpPr>
            <p:cNvPr id="368" name="Rectangle 367">
              <a:extLst>
                <a:ext uri="{FF2B5EF4-FFF2-40B4-BE49-F238E27FC236}">
                  <a16:creationId xmlns:a16="http://schemas.microsoft.com/office/drawing/2014/main" id="{202D8931-5F0E-46B7-A7EE-4BAA1614FDE1}"/>
                </a:ext>
              </a:extLst>
            </p:cNvPr>
            <p:cNvSpPr/>
            <p:nvPr/>
          </p:nvSpPr>
          <p:spPr>
            <a:xfrm>
              <a:off x="2815168" y="6300205"/>
              <a:ext cx="6096000" cy="286232"/>
            </a:xfrm>
            <a:prstGeom prst="rect">
              <a:avLst/>
            </a:prstGeom>
          </p:spPr>
          <p:txBody>
            <a:bodyPr>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overnance &amp; Enterprise Security  </a:t>
              </a:r>
            </a:p>
          </p:txBody>
        </p:sp>
        <p:sp>
          <p:nvSpPr>
            <p:cNvPr id="369" name="building_5" title="Icon of a building with columns in a row and a triangular top">
              <a:extLst>
                <a:ext uri="{FF2B5EF4-FFF2-40B4-BE49-F238E27FC236}">
                  <a16:creationId xmlns:a16="http://schemas.microsoft.com/office/drawing/2014/main" id="{79B2AF19-0E9A-4DB2-906C-2AEDBD56BA17}"/>
                </a:ext>
              </a:extLst>
            </p:cNvPr>
            <p:cNvSpPr>
              <a:spLocks noChangeAspect="1" noEditPoints="1"/>
            </p:cNvSpPr>
            <p:nvPr/>
          </p:nvSpPr>
          <p:spPr bwMode="auto">
            <a:xfrm>
              <a:off x="3800141" y="6197040"/>
              <a:ext cx="428301" cy="36686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90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FD5BF700-9573-4A61-8933-57BA5FFF89EA}"/>
                </a:ext>
              </a:extLst>
            </p:cNvPr>
            <p:cNvGrpSpPr/>
            <p:nvPr/>
          </p:nvGrpSpPr>
          <p:grpSpPr>
            <a:xfrm>
              <a:off x="7893179" y="2797240"/>
              <a:ext cx="1511163" cy="1190005"/>
              <a:chOff x="7893179" y="2797240"/>
              <a:chExt cx="1511163" cy="1190005"/>
            </a:xfrm>
          </p:grpSpPr>
          <p:sp>
            <p:nvSpPr>
              <p:cNvPr id="358" name="TextBox 357">
                <a:extLst>
                  <a:ext uri="{FF2B5EF4-FFF2-40B4-BE49-F238E27FC236}">
                    <a16:creationId xmlns:a16="http://schemas.microsoft.com/office/drawing/2014/main" id="{9FA4CE44-18BC-49AB-AF76-7E72F4A7C9FD}"/>
                  </a:ext>
                </a:extLst>
              </p:cNvPr>
              <p:cNvSpPr txBox="1"/>
              <p:nvPr/>
            </p:nvSpPr>
            <p:spPr>
              <a:xfrm>
                <a:off x="7941200" y="3741024"/>
                <a:ext cx="1460535" cy="246221"/>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Leader in the Magic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Quadrant for BI and Analytics</a:t>
                </a:r>
              </a:p>
            </p:txBody>
          </p:sp>
          <p:sp>
            <p:nvSpPr>
              <p:cNvPr id="370" name="Freeform: Shape 282">
                <a:extLst>
                  <a:ext uri="{FF2B5EF4-FFF2-40B4-BE49-F238E27FC236}">
                    <a16:creationId xmlns:a16="http://schemas.microsoft.com/office/drawing/2014/main" id="{A3BDBF95-9A73-4F40-AB13-0715C9DD974E}"/>
                  </a:ext>
                </a:extLst>
              </p:cNvPr>
              <p:cNvSpPr/>
              <p:nvPr/>
            </p:nvSpPr>
            <p:spPr>
              <a:xfrm>
                <a:off x="8316966" y="3112429"/>
                <a:ext cx="668008" cy="481795"/>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1" name="TextBox 370">
                <a:extLst>
                  <a:ext uri="{FF2B5EF4-FFF2-40B4-BE49-F238E27FC236}">
                    <a16:creationId xmlns:a16="http://schemas.microsoft.com/office/drawing/2014/main" id="{2EA07D12-9E35-4A3D-B1BD-94CFF2E7B0A5}"/>
                  </a:ext>
                </a:extLst>
              </p:cNvPr>
              <p:cNvSpPr txBox="1"/>
              <p:nvPr/>
            </p:nvSpPr>
            <p:spPr>
              <a:xfrm>
                <a:off x="7893179" y="2797240"/>
                <a:ext cx="1511163"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Power BI Premium</a:t>
                </a:r>
              </a:p>
            </p:txBody>
          </p:sp>
        </p:grpSp>
        <p:sp>
          <p:nvSpPr>
            <p:cNvPr id="392" name="TextBox 391">
              <a:extLst>
                <a:ext uri="{FF2B5EF4-FFF2-40B4-BE49-F238E27FC236}">
                  <a16:creationId xmlns:a16="http://schemas.microsoft.com/office/drawing/2014/main" id="{86F8F462-0607-4CCD-80FB-152A183E5665}"/>
                </a:ext>
              </a:extLst>
            </p:cNvPr>
            <p:cNvSpPr txBox="1"/>
            <p:nvPr/>
          </p:nvSpPr>
          <p:spPr>
            <a:xfrm>
              <a:off x="7629197" y="1164591"/>
              <a:ext cx="2039128"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Visualization</a:t>
              </a:r>
            </a:p>
          </p:txBody>
        </p:sp>
        <p:sp>
          <p:nvSpPr>
            <p:cNvPr id="410" name="TextBox 409">
              <a:extLst>
                <a:ext uri="{FF2B5EF4-FFF2-40B4-BE49-F238E27FC236}">
                  <a16:creationId xmlns:a16="http://schemas.microsoft.com/office/drawing/2014/main" id="{231F8992-9916-42DF-ABED-F35299EE2435}"/>
                </a:ext>
              </a:extLst>
            </p:cNvPr>
            <p:cNvSpPr txBox="1"/>
            <p:nvPr/>
          </p:nvSpPr>
          <p:spPr>
            <a:xfrm>
              <a:off x="483480" y="1304621"/>
              <a:ext cx="1059585" cy="21544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Sources</a:t>
              </a:r>
            </a:p>
          </p:txBody>
        </p:sp>
        <p:sp>
          <p:nvSpPr>
            <p:cNvPr id="10" name="TextBox 9">
              <a:extLst>
                <a:ext uri="{FF2B5EF4-FFF2-40B4-BE49-F238E27FC236}">
                  <a16:creationId xmlns:a16="http://schemas.microsoft.com/office/drawing/2014/main" id="{E98B72D9-22D7-4F00-BD78-A01405E57837}"/>
                </a:ext>
              </a:extLst>
            </p:cNvPr>
            <p:cNvSpPr txBox="1"/>
            <p:nvPr/>
          </p:nvSpPr>
          <p:spPr>
            <a:xfrm>
              <a:off x="5142273" y="2743836"/>
              <a:ext cx="1675568"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zure Synapse Analytics (Spark + Serverless + DWH)</a:t>
              </a:r>
            </a:p>
          </p:txBody>
        </p:sp>
        <p:sp>
          <p:nvSpPr>
            <p:cNvPr id="11" name="TextBox 10">
              <a:extLst>
                <a:ext uri="{FF2B5EF4-FFF2-40B4-BE49-F238E27FC236}">
                  <a16:creationId xmlns:a16="http://schemas.microsoft.com/office/drawing/2014/main" id="{2965123B-4FE0-4C53-BD27-465C62E549A4}"/>
                </a:ext>
              </a:extLst>
            </p:cNvPr>
            <p:cNvSpPr txBox="1"/>
            <p:nvPr/>
          </p:nvSpPr>
          <p:spPr>
            <a:xfrm>
              <a:off x="5009943" y="3802579"/>
              <a:ext cx="1922599"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imitless analytics service tha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brings together enterprise data warehousing and Big Data analytics</a:t>
              </a:r>
            </a:p>
          </p:txBody>
        </p:sp>
        <p:cxnSp>
          <p:nvCxnSpPr>
            <p:cNvPr id="12" name="Straight Arrow Connector 11">
              <a:extLst>
                <a:ext uri="{FF2B5EF4-FFF2-40B4-BE49-F238E27FC236}">
                  <a16:creationId xmlns:a16="http://schemas.microsoft.com/office/drawing/2014/main" id="{0CCF4D4B-E1CB-4BC4-88AD-61BB825AB324}"/>
                </a:ext>
              </a:extLst>
            </p:cNvPr>
            <p:cNvCxnSpPr>
              <a:cxnSpLocks/>
            </p:cNvCxnSpPr>
            <p:nvPr/>
          </p:nvCxnSpPr>
          <p:spPr>
            <a:xfrm flipV="1">
              <a:off x="4360194" y="3229620"/>
              <a:ext cx="560034" cy="1"/>
            </a:xfrm>
            <a:prstGeom prst="straightConnector1">
              <a:avLst/>
            </a:prstGeom>
            <a:noFill/>
            <a:ln w="19050" cap="flat" cmpd="sng" algn="ctr">
              <a:solidFill>
                <a:srgbClr val="0078D4"/>
              </a:solidFill>
              <a:prstDash val="solid"/>
              <a:headEnd type="none" w="lg" len="med"/>
              <a:tailEnd type="arrow" w="lg" len="sm"/>
            </a:ln>
            <a:effectLst/>
          </p:spPr>
        </p:cxnSp>
        <p:grpSp>
          <p:nvGrpSpPr>
            <p:cNvPr id="15" name="Group 14">
              <a:extLst>
                <a:ext uri="{FF2B5EF4-FFF2-40B4-BE49-F238E27FC236}">
                  <a16:creationId xmlns:a16="http://schemas.microsoft.com/office/drawing/2014/main" id="{F9992C74-D95F-4A6F-8677-F122BBBB6D77}"/>
                </a:ext>
              </a:extLst>
            </p:cNvPr>
            <p:cNvGrpSpPr/>
            <p:nvPr/>
          </p:nvGrpSpPr>
          <p:grpSpPr>
            <a:xfrm>
              <a:off x="2551215" y="2727991"/>
              <a:ext cx="1861308" cy="1448048"/>
              <a:chOff x="2824046" y="2723293"/>
              <a:chExt cx="1861308" cy="1448048"/>
            </a:xfrm>
          </p:grpSpPr>
          <p:pic>
            <p:nvPicPr>
              <p:cNvPr id="3" name="Graphic 2" descr="Storage Files">
                <a:extLst>
                  <a:ext uri="{FF2B5EF4-FFF2-40B4-BE49-F238E27FC236}">
                    <a16:creationId xmlns:a16="http://schemas.microsoft.com/office/drawing/2014/main" id="{56B97888-8B28-4E41-A288-BE7898014A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36428" y="3094735"/>
                <a:ext cx="636544" cy="636544"/>
              </a:xfrm>
              <a:prstGeom prst="rect">
                <a:avLst/>
              </a:prstGeom>
            </p:spPr>
          </p:pic>
          <p:sp>
            <p:nvSpPr>
              <p:cNvPr id="7" name="TextBox 6">
                <a:extLst>
                  <a:ext uri="{FF2B5EF4-FFF2-40B4-BE49-F238E27FC236}">
                    <a16:creationId xmlns:a16="http://schemas.microsoft.com/office/drawing/2014/main" id="{1C1CC32B-8E58-4608-A58F-50BA1DC2A2BA}"/>
                  </a:ext>
                </a:extLst>
              </p:cNvPr>
              <p:cNvSpPr txBox="1"/>
              <p:nvPr/>
            </p:nvSpPr>
            <p:spPr>
              <a:xfrm>
                <a:off x="3073179" y="3802009"/>
                <a:ext cx="1471791"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w-cost, tiered storage, with high availability/disaster recovery capabilities.</a:t>
                </a:r>
              </a:p>
            </p:txBody>
          </p:sp>
          <p:sp>
            <p:nvSpPr>
              <p:cNvPr id="14" name="TextBox 13">
                <a:extLst>
                  <a:ext uri="{FF2B5EF4-FFF2-40B4-BE49-F238E27FC236}">
                    <a16:creationId xmlns:a16="http://schemas.microsoft.com/office/drawing/2014/main" id="{689E6A69-77A0-4EE5-8BE1-60F2E6CB74AC}"/>
                  </a:ext>
                </a:extLst>
              </p:cNvPr>
              <p:cNvSpPr txBox="1"/>
              <p:nvPr/>
            </p:nvSpPr>
            <p:spPr>
              <a:xfrm>
                <a:off x="2824046" y="2723293"/>
                <a:ext cx="1861308"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Storage Account </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DLS Gen 2</a:t>
                </a:r>
              </a:p>
            </p:txBody>
          </p:sp>
        </p:grpSp>
        <p:cxnSp>
          <p:nvCxnSpPr>
            <p:cNvPr id="19" name="Straight Arrow Connector 18">
              <a:extLst>
                <a:ext uri="{FF2B5EF4-FFF2-40B4-BE49-F238E27FC236}">
                  <a16:creationId xmlns:a16="http://schemas.microsoft.com/office/drawing/2014/main" id="{2F076671-E697-40A7-8A88-88266548D304}"/>
                </a:ext>
              </a:extLst>
            </p:cNvPr>
            <p:cNvCxnSpPr>
              <a:cxnSpLocks/>
            </p:cNvCxnSpPr>
            <p:nvPr/>
          </p:nvCxnSpPr>
          <p:spPr>
            <a:xfrm flipV="1">
              <a:off x="7055685" y="3244529"/>
              <a:ext cx="560034" cy="1"/>
            </a:xfrm>
            <a:prstGeom prst="straightConnector1">
              <a:avLst/>
            </a:prstGeom>
            <a:noFill/>
            <a:ln w="19050" cap="flat" cmpd="sng" algn="ctr">
              <a:solidFill>
                <a:srgbClr val="0078D4"/>
              </a:solidFill>
              <a:prstDash val="solid"/>
              <a:headEnd type="none" w="lg" len="med"/>
              <a:tailEnd type="arrow" w="lg" len="sm"/>
            </a:ln>
            <a:effectLst/>
          </p:spPr>
        </p:cxnSp>
      </p:grpSp>
      <p:pic>
        <p:nvPicPr>
          <p:cNvPr id="42" name="Picture 41">
            <a:extLst>
              <a:ext uri="{FF2B5EF4-FFF2-40B4-BE49-F238E27FC236}">
                <a16:creationId xmlns:a16="http://schemas.microsoft.com/office/drawing/2014/main" id="{4C88C49A-22D4-4E3D-B4B9-78BC12530D8B}"/>
              </a:ext>
            </a:extLst>
          </p:cNvPr>
          <p:cNvPicPr>
            <a:picLocks noChangeAspect="1"/>
          </p:cNvPicPr>
          <p:nvPr/>
        </p:nvPicPr>
        <p:blipFill>
          <a:blip r:embed="rId4"/>
          <a:stretch>
            <a:fillRect/>
          </a:stretch>
        </p:blipFill>
        <p:spPr>
          <a:xfrm>
            <a:off x="6626121" y="3161573"/>
            <a:ext cx="512712" cy="514929"/>
          </a:xfrm>
          <a:prstGeom prst="rect">
            <a:avLst/>
          </a:prstGeom>
        </p:spPr>
      </p:pic>
    </p:spTree>
    <p:extLst>
      <p:ext uri="{BB962C8B-B14F-4D97-AF65-F5344CB8AC3E}">
        <p14:creationId xmlns:p14="http://schemas.microsoft.com/office/powerpoint/2010/main" val="414162626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DC07-7F6D-4ADD-8C5A-0FC2D8B6FAE9}"/>
              </a:ext>
            </a:extLst>
          </p:cNvPr>
          <p:cNvSpPr>
            <a:spLocks noGrp="1"/>
          </p:cNvSpPr>
          <p:nvPr>
            <p:ph type="title"/>
          </p:nvPr>
        </p:nvSpPr>
        <p:spPr/>
        <p:txBody>
          <a:bodyPr/>
          <a:lstStyle/>
          <a:p>
            <a:r>
              <a:rPr lang="en-US" sz="2800"/>
              <a:t>Reference Architecture</a:t>
            </a:r>
          </a:p>
        </p:txBody>
      </p:sp>
      <p:grpSp>
        <p:nvGrpSpPr>
          <p:cNvPr id="21" name="Group 20">
            <a:extLst>
              <a:ext uri="{FF2B5EF4-FFF2-40B4-BE49-F238E27FC236}">
                <a16:creationId xmlns:a16="http://schemas.microsoft.com/office/drawing/2014/main" id="{46EF8EC8-1F30-4884-BA0D-A86D4E709D5F}"/>
              </a:ext>
            </a:extLst>
          </p:cNvPr>
          <p:cNvGrpSpPr/>
          <p:nvPr/>
        </p:nvGrpSpPr>
        <p:grpSpPr>
          <a:xfrm>
            <a:off x="1320945" y="980605"/>
            <a:ext cx="9284106" cy="5613624"/>
            <a:chOff x="426424" y="972813"/>
            <a:chExt cx="9284106" cy="5613624"/>
          </a:xfrm>
        </p:grpSpPr>
        <p:sp>
          <p:nvSpPr>
            <p:cNvPr id="342" name="Rectangle 341">
              <a:extLst>
                <a:ext uri="{FF2B5EF4-FFF2-40B4-BE49-F238E27FC236}">
                  <a16:creationId xmlns:a16="http://schemas.microsoft.com/office/drawing/2014/main" id="{6C84C8E9-F02B-4662-B8A1-9B5149D32C1F}"/>
                </a:ext>
              </a:extLst>
            </p:cNvPr>
            <p:cNvSpPr/>
            <p:nvPr/>
          </p:nvSpPr>
          <p:spPr bwMode="auto">
            <a:xfrm>
              <a:off x="7738136" y="988670"/>
              <a:ext cx="1821251" cy="4682201"/>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3F26284E-287C-45CE-BE3B-9A9150294051}"/>
                </a:ext>
              </a:extLst>
            </p:cNvPr>
            <p:cNvSpPr/>
            <p:nvPr/>
          </p:nvSpPr>
          <p:spPr bwMode="auto">
            <a:xfrm>
              <a:off x="4969208" y="978966"/>
              <a:ext cx="2037497" cy="4673735"/>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AA71F304-2FE3-4257-82D7-6CD0854697D8}"/>
                </a:ext>
              </a:extLst>
            </p:cNvPr>
            <p:cNvSpPr/>
            <p:nvPr/>
          </p:nvSpPr>
          <p:spPr bwMode="auto">
            <a:xfrm>
              <a:off x="2632613" y="972813"/>
              <a:ext cx="1727581" cy="4679888"/>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TextBox 345">
              <a:extLst>
                <a:ext uri="{FF2B5EF4-FFF2-40B4-BE49-F238E27FC236}">
                  <a16:creationId xmlns:a16="http://schemas.microsoft.com/office/drawing/2014/main" id="{9E17F711-7062-4294-9FE1-915D558C5AF2}"/>
                </a:ext>
              </a:extLst>
            </p:cNvPr>
            <p:cNvSpPr txBox="1"/>
            <p:nvPr/>
          </p:nvSpPr>
          <p:spPr>
            <a:xfrm>
              <a:off x="864800" y="2173698"/>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Logs (unstructured)</a:t>
              </a:r>
            </a:p>
          </p:txBody>
        </p:sp>
        <p:sp>
          <p:nvSpPr>
            <p:cNvPr id="347" name="TextBox 346">
              <a:extLst>
                <a:ext uri="{FF2B5EF4-FFF2-40B4-BE49-F238E27FC236}">
                  <a16:creationId xmlns:a16="http://schemas.microsoft.com/office/drawing/2014/main" id="{F5AA7A59-428F-44A9-836E-9C3D7B6B3F81}"/>
                </a:ext>
              </a:extLst>
            </p:cNvPr>
            <p:cNvSpPr txBox="1"/>
            <p:nvPr/>
          </p:nvSpPr>
          <p:spPr>
            <a:xfrm>
              <a:off x="864800" y="2997372"/>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Media (unstructured)</a:t>
              </a:r>
            </a:p>
          </p:txBody>
        </p:sp>
        <p:sp>
          <p:nvSpPr>
            <p:cNvPr id="348" name="TextBox 347">
              <a:extLst>
                <a:ext uri="{FF2B5EF4-FFF2-40B4-BE49-F238E27FC236}">
                  <a16:creationId xmlns:a16="http://schemas.microsoft.com/office/drawing/2014/main" id="{5C4546D2-C4DC-48A5-A403-E8B3429D4841}"/>
                </a:ext>
              </a:extLst>
            </p:cNvPr>
            <p:cNvSpPr txBox="1"/>
            <p:nvPr/>
          </p:nvSpPr>
          <p:spPr>
            <a:xfrm>
              <a:off x="864799" y="3821046"/>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Files (unstructured)</a:t>
              </a:r>
            </a:p>
          </p:txBody>
        </p:sp>
        <p:sp>
          <p:nvSpPr>
            <p:cNvPr id="349" name="TextBox 348">
              <a:extLst>
                <a:ext uri="{FF2B5EF4-FFF2-40B4-BE49-F238E27FC236}">
                  <a16:creationId xmlns:a16="http://schemas.microsoft.com/office/drawing/2014/main" id="{2EAA7EEA-DE89-47F6-89AC-F638F2EF3095}"/>
                </a:ext>
              </a:extLst>
            </p:cNvPr>
            <p:cNvSpPr txBox="1"/>
            <p:nvPr/>
          </p:nvSpPr>
          <p:spPr>
            <a:xfrm>
              <a:off x="864799" y="4561621"/>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Business/</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ustom apps </a:t>
              </a:r>
              <a:b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structured)</a:t>
              </a:r>
            </a:p>
          </p:txBody>
        </p:sp>
        <p:sp>
          <p:nvSpPr>
            <p:cNvPr id="350" name="PhotoCollection_E7AA" title="Icon of a stacked photo of a landscape">
              <a:extLst>
                <a:ext uri="{FF2B5EF4-FFF2-40B4-BE49-F238E27FC236}">
                  <a16:creationId xmlns:a16="http://schemas.microsoft.com/office/drawing/2014/main" id="{BFF68636-5473-4CBD-BC9F-29D77860453F}"/>
                </a:ext>
              </a:extLst>
            </p:cNvPr>
            <p:cNvSpPr>
              <a:spLocks noChangeAspect="1" noEditPoints="1"/>
            </p:cNvSpPr>
            <p:nvPr/>
          </p:nvSpPr>
          <p:spPr bwMode="auto">
            <a:xfrm>
              <a:off x="426424" y="3038663"/>
              <a:ext cx="326956" cy="24981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1" name="Copy_E8C8" title="Icon of two documents stacked together">
              <a:extLst>
                <a:ext uri="{FF2B5EF4-FFF2-40B4-BE49-F238E27FC236}">
                  <a16:creationId xmlns:a16="http://schemas.microsoft.com/office/drawing/2014/main" id="{01CB3020-2732-42A8-8316-D2B8EF6BA964}"/>
                </a:ext>
              </a:extLst>
            </p:cNvPr>
            <p:cNvSpPr>
              <a:spLocks noChangeAspect="1" noEditPoints="1"/>
            </p:cNvSpPr>
            <p:nvPr/>
          </p:nvSpPr>
          <p:spPr bwMode="auto">
            <a:xfrm>
              <a:off x="458896" y="3836106"/>
              <a:ext cx="262012" cy="302281"/>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2" name="Browser_2" title="Icon of a browser window with a home symbol inside">
              <a:extLst>
                <a:ext uri="{FF2B5EF4-FFF2-40B4-BE49-F238E27FC236}">
                  <a16:creationId xmlns:a16="http://schemas.microsoft.com/office/drawing/2014/main" id="{98D5CDF0-4EF0-42BD-A812-FC6326C8856E}"/>
                </a:ext>
              </a:extLst>
            </p:cNvPr>
            <p:cNvSpPr>
              <a:spLocks noChangeAspect="1" noEditPoints="1"/>
            </p:cNvSpPr>
            <p:nvPr/>
          </p:nvSpPr>
          <p:spPr bwMode="auto">
            <a:xfrm>
              <a:off x="428287" y="4673520"/>
              <a:ext cx="323231" cy="274801"/>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3" name="Script_F03A" title="Icon of an unrolled document with writing on it">
              <a:extLst>
                <a:ext uri="{FF2B5EF4-FFF2-40B4-BE49-F238E27FC236}">
                  <a16:creationId xmlns:a16="http://schemas.microsoft.com/office/drawing/2014/main" id="{D6C6E50E-E1A5-4131-989A-2BEA5C62D2E7}"/>
                </a:ext>
              </a:extLst>
            </p:cNvPr>
            <p:cNvSpPr>
              <a:spLocks noChangeAspect="1" noEditPoints="1"/>
            </p:cNvSpPr>
            <p:nvPr/>
          </p:nvSpPr>
          <p:spPr bwMode="auto">
            <a:xfrm>
              <a:off x="438835" y="2188758"/>
              <a:ext cx="302135" cy="302281"/>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sp>
          <p:nvSpPr>
            <p:cNvPr id="354" name="Right Bracket 353">
              <a:extLst>
                <a:ext uri="{FF2B5EF4-FFF2-40B4-BE49-F238E27FC236}">
                  <a16:creationId xmlns:a16="http://schemas.microsoft.com/office/drawing/2014/main" id="{D947E78A-4EA2-4BEE-846F-D3AFCAB285D8}"/>
                </a:ext>
              </a:extLst>
            </p:cNvPr>
            <p:cNvSpPr/>
            <p:nvPr/>
          </p:nvSpPr>
          <p:spPr>
            <a:xfrm>
              <a:off x="1772936" y="1583235"/>
              <a:ext cx="169190" cy="3737560"/>
            </a:xfrm>
            <a:prstGeom prst="rightBracket">
              <a:avLst>
                <a:gd name="adj" fmla="val 0"/>
              </a:avLst>
            </a:prstGeom>
            <a:noFill/>
            <a:ln w="19050" cap="flat" cmpd="sng" algn="ctr">
              <a:solidFill>
                <a:srgbClr val="0078D4"/>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cxnSp>
          <p:nvCxnSpPr>
            <p:cNvPr id="355" name="Straight Arrow Connector 354">
              <a:extLst>
                <a:ext uri="{FF2B5EF4-FFF2-40B4-BE49-F238E27FC236}">
                  <a16:creationId xmlns:a16="http://schemas.microsoft.com/office/drawing/2014/main" id="{6B5726F5-DF5B-4A1C-995F-7D4CA8FB7A1B}"/>
                </a:ext>
              </a:extLst>
            </p:cNvPr>
            <p:cNvCxnSpPr>
              <a:cxnSpLocks/>
            </p:cNvCxnSpPr>
            <p:nvPr/>
          </p:nvCxnSpPr>
          <p:spPr>
            <a:xfrm>
              <a:off x="1942126" y="3173847"/>
              <a:ext cx="632109" cy="0"/>
            </a:xfrm>
            <a:prstGeom prst="straightConnector1">
              <a:avLst/>
            </a:prstGeom>
            <a:noFill/>
            <a:ln w="19050" cap="flat" cmpd="sng" algn="ctr">
              <a:solidFill>
                <a:srgbClr val="0078D4"/>
              </a:solidFill>
              <a:prstDash val="solid"/>
              <a:headEnd type="none" w="lg" len="med"/>
              <a:tailEnd type="arrow" w="lg" len="sm"/>
            </a:ln>
            <a:effectLst/>
          </p:spPr>
        </p:cxnSp>
        <p:sp>
          <p:nvSpPr>
            <p:cNvPr id="359" name="TextBox 358">
              <a:extLst>
                <a:ext uri="{FF2B5EF4-FFF2-40B4-BE49-F238E27FC236}">
                  <a16:creationId xmlns:a16="http://schemas.microsoft.com/office/drawing/2014/main" id="{36F97A8A-23D5-4138-A19D-85D92522A932}"/>
                </a:ext>
              </a:extLst>
            </p:cNvPr>
            <p:cNvSpPr txBox="1"/>
            <p:nvPr/>
          </p:nvSpPr>
          <p:spPr>
            <a:xfrm>
              <a:off x="2394391" y="1164591"/>
              <a:ext cx="2188904"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Storage</a:t>
              </a:r>
            </a:p>
          </p:txBody>
        </p:sp>
        <p:sp>
          <p:nvSpPr>
            <p:cNvPr id="361" name="TextBox 360">
              <a:extLst>
                <a:ext uri="{FF2B5EF4-FFF2-40B4-BE49-F238E27FC236}">
                  <a16:creationId xmlns:a16="http://schemas.microsoft.com/office/drawing/2014/main" id="{D51780CF-895F-490B-86CE-713871096CB7}"/>
                </a:ext>
              </a:extLst>
            </p:cNvPr>
            <p:cNvSpPr txBox="1"/>
            <p:nvPr/>
          </p:nvSpPr>
          <p:spPr>
            <a:xfrm>
              <a:off x="5419581" y="1164591"/>
              <a:ext cx="1090150"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Serving</a:t>
              </a:r>
            </a:p>
          </p:txBody>
        </p:sp>
        <p:grpSp>
          <p:nvGrpSpPr>
            <p:cNvPr id="362" name="Group 361">
              <a:extLst>
                <a:ext uri="{FF2B5EF4-FFF2-40B4-BE49-F238E27FC236}">
                  <a16:creationId xmlns:a16="http://schemas.microsoft.com/office/drawing/2014/main" id="{28736625-BBE1-45B5-9819-03634FD4D4ED}"/>
                </a:ext>
              </a:extLst>
            </p:cNvPr>
            <p:cNvGrpSpPr/>
            <p:nvPr/>
          </p:nvGrpSpPr>
          <p:grpSpPr>
            <a:xfrm>
              <a:off x="7571600" y="6192395"/>
              <a:ext cx="427888" cy="365043"/>
              <a:chOff x="8436858" y="2535046"/>
              <a:chExt cx="1539405" cy="1630683"/>
            </a:xfrm>
            <a:noFill/>
          </p:grpSpPr>
          <p:sp>
            <p:nvSpPr>
              <p:cNvPr id="363" name="Freeform 764">
                <a:extLst>
                  <a:ext uri="{FF2B5EF4-FFF2-40B4-BE49-F238E27FC236}">
                    <a16:creationId xmlns:a16="http://schemas.microsoft.com/office/drawing/2014/main" id="{138DC8A3-BA69-47AD-8929-4D4D7F9DE524}"/>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91427" tIns="45713" rIns="91427" bIns="45713"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364" name="Freeform 785">
                <a:extLst>
                  <a:ext uri="{FF2B5EF4-FFF2-40B4-BE49-F238E27FC236}">
                    <a16:creationId xmlns:a16="http://schemas.microsoft.com/office/drawing/2014/main" id="{9F8E9137-AD3C-4294-AA41-56FF8940BE7F}"/>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rgbClr val="243A5E"/>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nvGrpSpPr>
            <p:cNvPr id="365" name="Group 364">
              <a:extLst>
                <a:ext uri="{FF2B5EF4-FFF2-40B4-BE49-F238E27FC236}">
                  <a16:creationId xmlns:a16="http://schemas.microsoft.com/office/drawing/2014/main" id="{BA8EFDAD-17AD-4C3B-84A1-056D1FA1E4E7}"/>
                </a:ext>
              </a:extLst>
            </p:cNvPr>
            <p:cNvGrpSpPr/>
            <p:nvPr/>
          </p:nvGrpSpPr>
          <p:grpSpPr>
            <a:xfrm>
              <a:off x="2111333" y="5869761"/>
              <a:ext cx="7599197" cy="360829"/>
              <a:chOff x="457200" y="5592008"/>
              <a:chExt cx="11273952" cy="352842"/>
            </a:xfrm>
          </p:grpSpPr>
          <p:sp>
            <p:nvSpPr>
              <p:cNvPr id="366" name="Freeform 230">
                <a:extLst>
                  <a:ext uri="{FF2B5EF4-FFF2-40B4-BE49-F238E27FC236}">
                    <a16:creationId xmlns:a16="http://schemas.microsoft.com/office/drawing/2014/main" id="{ED738AC4-1663-4F63-B6C7-F1BDCC7DD29C}"/>
                  </a:ext>
                </a:extLst>
              </p:cNvPr>
              <p:cNvSpPr/>
              <p:nvPr/>
            </p:nvSpPr>
            <p:spPr bwMode="auto">
              <a:xfrm>
                <a:off x="457200" y="5592008"/>
                <a:ext cx="11273952" cy="118937"/>
              </a:xfrm>
              <a:custGeom>
                <a:avLst/>
                <a:gdLst>
                  <a:gd name="connsiteX0" fmla="*/ 0 w 6119446"/>
                  <a:gd name="connsiteY0" fmla="*/ 0 h 464234"/>
                  <a:gd name="connsiteX1" fmla="*/ 0 w 6119446"/>
                  <a:gd name="connsiteY1" fmla="*/ 464234 h 464234"/>
                  <a:gd name="connsiteX2" fmla="*/ 6119446 w 6119446"/>
                  <a:gd name="connsiteY2" fmla="*/ 464234 h 464234"/>
                  <a:gd name="connsiteX3" fmla="*/ 6119446 w 6119446"/>
                  <a:gd name="connsiteY3" fmla="*/ 14068 h 464234"/>
                </a:gdLst>
                <a:ahLst/>
                <a:cxnLst>
                  <a:cxn ang="0">
                    <a:pos x="connsiteX0" y="connsiteY0"/>
                  </a:cxn>
                  <a:cxn ang="0">
                    <a:pos x="connsiteX1" y="connsiteY1"/>
                  </a:cxn>
                  <a:cxn ang="0">
                    <a:pos x="connsiteX2" y="connsiteY2"/>
                  </a:cxn>
                  <a:cxn ang="0">
                    <a:pos x="connsiteX3" y="connsiteY3"/>
                  </a:cxn>
                </a:cxnLst>
                <a:rect l="l" t="t" r="r" b="b"/>
                <a:pathLst>
                  <a:path w="6119446" h="464234">
                    <a:moveTo>
                      <a:pt x="0" y="0"/>
                    </a:moveTo>
                    <a:lnTo>
                      <a:pt x="0" y="464234"/>
                    </a:lnTo>
                    <a:lnTo>
                      <a:pt x="6119446" y="464234"/>
                    </a:lnTo>
                    <a:lnTo>
                      <a:pt x="6119446" y="14068"/>
                    </a:lnTo>
                  </a:path>
                </a:pathLst>
              </a:custGeom>
              <a:noFill/>
              <a:ln w="12700" cap="rnd" cmpd="sng" algn="ctr">
                <a:solidFill>
                  <a:srgbClr val="000000"/>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367" name="Straight Connector 366">
                <a:extLst>
                  <a:ext uri="{FF2B5EF4-FFF2-40B4-BE49-F238E27FC236}">
                    <a16:creationId xmlns:a16="http://schemas.microsoft.com/office/drawing/2014/main" id="{4FD553A7-9AA8-4E11-B004-CF20C43D6A54}"/>
                  </a:ext>
                </a:extLst>
              </p:cNvPr>
              <p:cNvCxnSpPr/>
              <p:nvPr/>
            </p:nvCxnSpPr>
            <p:spPr>
              <a:xfrm>
                <a:off x="6096000" y="5710947"/>
                <a:ext cx="0" cy="233903"/>
              </a:xfrm>
              <a:prstGeom prst="line">
                <a:avLst/>
              </a:prstGeom>
              <a:noFill/>
              <a:ln w="12700" cap="flat" cmpd="sng" algn="ctr">
                <a:solidFill>
                  <a:srgbClr val="000000"/>
                </a:solidFill>
                <a:prstDash val="solid"/>
                <a:headEnd type="none"/>
                <a:tailEnd type="triangle"/>
              </a:ln>
              <a:effectLst/>
            </p:spPr>
          </p:cxnSp>
        </p:grpSp>
        <p:sp>
          <p:nvSpPr>
            <p:cNvPr id="368" name="Rectangle 367">
              <a:extLst>
                <a:ext uri="{FF2B5EF4-FFF2-40B4-BE49-F238E27FC236}">
                  <a16:creationId xmlns:a16="http://schemas.microsoft.com/office/drawing/2014/main" id="{202D8931-5F0E-46B7-A7EE-4BAA1614FDE1}"/>
                </a:ext>
              </a:extLst>
            </p:cNvPr>
            <p:cNvSpPr/>
            <p:nvPr/>
          </p:nvSpPr>
          <p:spPr>
            <a:xfrm>
              <a:off x="2815168" y="6300205"/>
              <a:ext cx="6096000" cy="286232"/>
            </a:xfrm>
            <a:prstGeom prst="rect">
              <a:avLst/>
            </a:prstGeom>
          </p:spPr>
          <p:txBody>
            <a:bodyPr>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overnance &amp; Enterprise Security  </a:t>
              </a:r>
            </a:p>
          </p:txBody>
        </p:sp>
        <p:sp>
          <p:nvSpPr>
            <p:cNvPr id="369" name="building_5" title="Icon of a building with columns in a row and a triangular top">
              <a:extLst>
                <a:ext uri="{FF2B5EF4-FFF2-40B4-BE49-F238E27FC236}">
                  <a16:creationId xmlns:a16="http://schemas.microsoft.com/office/drawing/2014/main" id="{79B2AF19-0E9A-4DB2-906C-2AEDBD56BA17}"/>
                </a:ext>
              </a:extLst>
            </p:cNvPr>
            <p:cNvSpPr>
              <a:spLocks noChangeAspect="1" noEditPoints="1"/>
            </p:cNvSpPr>
            <p:nvPr/>
          </p:nvSpPr>
          <p:spPr bwMode="auto">
            <a:xfrm>
              <a:off x="3800141" y="6197040"/>
              <a:ext cx="428301" cy="36686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90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FD5BF700-9573-4A61-8933-57BA5FFF89EA}"/>
                </a:ext>
              </a:extLst>
            </p:cNvPr>
            <p:cNvGrpSpPr/>
            <p:nvPr/>
          </p:nvGrpSpPr>
          <p:grpSpPr>
            <a:xfrm>
              <a:off x="7893179" y="2797240"/>
              <a:ext cx="1511163" cy="1190005"/>
              <a:chOff x="7893179" y="2797240"/>
              <a:chExt cx="1511163" cy="1190005"/>
            </a:xfrm>
          </p:grpSpPr>
          <p:sp>
            <p:nvSpPr>
              <p:cNvPr id="358" name="TextBox 357">
                <a:extLst>
                  <a:ext uri="{FF2B5EF4-FFF2-40B4-BE49-F238E27FC236}">
                    <a16:creationId xmlns:a16="http://schemas.microsoft.com/office/drawing/2014/main" id="{9FA4CE44-18BC-49AB-AF76-7E72F4A7C9FD}"/>
                  </a:ext>
                </a:extLst>
              </p:cNvPr>
              <p:cNvSpPr txBox="1"/>
              <p:nvPr/>
            </p:nvSpPr>
            <p:spPr>
              <a:xfrm>
                <a:off x="7941200" y="3741024"/>
                <a:ext cx="1460535" cy="246221"/>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Leader in the Magic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Quadrant for BI and Analytics</a:t>
                </a:r>
              </a:p>
            </p:txBody>
          </p:sp>
          <p:sp>
            <p:nvSpPr>
              <p:cNvPr id="370" name="Freeform: Shape 282">
                <a:extLst>
                  <a:ext uri="{FF2B5EF4-FFF2-40B4-BE49-F238E27FC236}">
                    <a16:creationId xmlns:a16="http://schemas.microsoft.com/office/drawing/2014/main" id="{A3BDBF95-9A73-4F40-AB13-0715C9DD974E}"/>
                  </a:ext>
                </a:extLst>
              </p:cNvPr>
              <p:cNvSpPr/>
              <p:nvPr/>
            </p:nvSpPr>
            <p:spPr>
              <a:xfrm>
                <a:off x="8316966" y="3112429"/>
                <a:ext cx="668008" cy="481795"/>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1" name="TextBox 370">
                <a:extLst>
                  <a:ext uri="{FF2B5EF4-FFF2-40B4-BE49-F238E27FC236}">
                    <a16:creationId xmlns:a16="http://schemas.microsoft.com/office/drawing/2014/main" id="{2EA07D12-9E35-4A3D-B1BD-94CFF2E7B0A5}"/>
                  </a:ext>
                </a:extLst>
              </p:cNvPr>
              <p:cNvSpPr txBox="1"/>
              <p:nvPr/>
            </p:nvSpPr>
            <p:spPr>
              <a:xfrm>
                <a:off x="7893179" y="2797240"/>
                <a:ext cx="1511163"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Power BI Premium</a:t>
                </a:r>
              </a:p>
            </p:txBody>
          </p:sp>
        </p:grpSp>
        <p:sp>
          <p:nvSpPr>
            <p:cNvPr id="392" name="TextBox 391">
              <a:extLst>
                <a:ext uri="{FF2B5EF4-FFF2-40B4-BE49-F238E27FC236}">
                  <a16:creationId xmlns:a16="http://schemas.microsoft.com/office/drawing/2014/main" id="{86F8F462-0607-4CCD-80FB-152A183E5665}"/>
                </a:ext>
              </a:extLst>
            </p:cNvPr>
            <p:cNvSpPr txBox="1"/>
            <p:nvPr/>
          </p:nvSpPr>
          <p:spPr>
            <a:xfrm>
              <a:off x="7629197" y="1164591"/>
              <a:ext cx="2039128" cy="215444"/>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Visualization</a:t>
              </a:r>
            </a:p>
          </p:txBody>
        </p:sp>
        <p:sp>
          <p:nvSpPr>
            <p:cNvPr id="410" name="TextBox 409">
              <a:extLst>
                <a:ext uri="{FF2B5EF4-FFF2-40B4-BE49-F238E27FC236}">
                  <a16:creationId xmlns:a16="http://schemas.microsoft.com/office/drawing/2014/main" id="{231F8992-9916-42DF-ABED-F35299EE2435}"/>
                </a:ext>
              </a:extLst>
            </p:cNvPr>
            <p:cNvSpPr txBox="1"/>
            <p:nvPr/>
          </p:nvSpPr>
          <p:spPr>
            <a:xfrm>
              <a:off x="483480" y="1304621"/>
              <a:ext cx="1059585" cy="21544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Data Sources</a:t>
              </a:r>
            </a:p>
          </p:txBody>
        </p:sp>
        <p:sp>
          <p:nvSpPr>
            <p:cNvPr id="10" name="TextBox 9">
              <a:extLst>
                <a:ext uri="{FF2B5EF4-FFF2-40B4-BE49-F238E27FC236}">
                  <a16:creationId xmlns:a16="http://schemas.microsoft.com/office/drawing/2014/main" id="{E98B72D9-22D7-4F00-BD78-A01405E57837}"/>
                </a:ext>
              </a:extLst>
            </p:cNvPr>
            <p:cNvSpPr txBox="1"/>
            <p:nvPr/>
          </p:nvSpPr>
          <p:spPr>
            <a:xfrm>
              <a:off x="5142273" y="2743836"/>
              <a:ext cx="1675568"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zure Synapse Analytics (Spark + Serverless + DWH)</a:t>
              </a:r>
            </a:p>
          </p:txBody>
        </p:sp>
        <p:sp>
          <p:nvSpPr>
            <p:cNvPr id="11" name="TextBox 10">
              <a:extLst>
                <a:ext uri="{FF2B5EF4-FFF2-40B4-BE49-F238E27FC236}">
                  <a16:creationId xmlns:a16="http://schemas.microsoft.com/office/drawing/2014/main" id="{2965123B-4FE0-4C53-BD27-465C62E549A4}"/>
                </a:ext>
              </a:extLst>
            </p:cNvPr>
            <p:cNvSpPr txBox="1"/>
            <p:nvPr/>
          </p:nvSpPr>
          <p:spPr>
            <a:xfrm>
              <a:off x="5009943" y="3802579"/>
              <a:ext cx="1922599"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imitless analytics service tha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brings together enterprise data warehousing and Big Data analytics</a:t>
              </a:r>
            </a:p>
          </p:txBody>
        </p:sp>
        <p:cxnSp>
          <p:nvCxnSpPr>
            <p:cNvPr id="12" name="Straight Arrow Connector 11">
              <a:extLst>
                <a:ext uri="{FF2B5EF4-FFF2-40B4-BE49-F238E27FC236}">
                  <a16:creationId xmlns:a16="http://schemas.microsoft.com/office/drawing/2014/main" id="{0CCF4D4B-E1CB-4BC4-88AD-61BB825AB324}"/>
                </a:ext>
              </a:extLst>
            </p:cNvPr>
            <p:cNvCxnSpPr>
              <a:cxnSpLocks/>
            </p:cNvCxnSpPr>
            <p:nvPr/>
          </p:nvCxnSpPr>
          <p:spPr>
            <a:xfrm flipV="1">
              <a:off x="4360194" y="3229620"/>
              <a:ext cx="560034" cy="1"/>
            </a:xfrm>
            <a:prstGeom prst="straightConnector1">
              <a:avLst/>
            </a:prstGeom>
            <a:noFill/>
            <a:ln w="19050" cap="flat" cmpd="sng" algn="ctr">
              <a:solidFill>
                <a:srgbClr val="0078D4"/>
              </a:solidFill>
              <a:prstDash val="solid"/>
              <a:headEnd type="none" w="lg" len="med"/>
              <a:tailEnd type="arrow" w="lg" len="sm"/>
            </a:ln>
            <a:effectLst/>
          </p:spPr>
        </p:cxnSp>
        <p:grpSp>
          <p:nvGrpSpPr>
            <p:cNvPr id="15" name="Group 14">
              <a:extLst>
                <a:ext uri="{FF2B5EF4-FFF2-40B4-BE49-F238E27FC236}">
                  <a16:creationId xmlns:a16="http://schemas.microsoft.com/office/drawing/2014/main" id="{F9992C74-D95F-4A6F-8677-F122BBBB6D77}"/>
                </a:ext>
              </a:extLst>
            </p:cNvPr>
            <p:cNvGrpSpPr/>
            <p:nvPr/>
          </p:nvGrpSpPr>
          <p:grpSpPr>
            <a:xfrm>
              <a:off x="2551215" y="2727991"/>
              <a:ext cx="1861308" cy="1448048"/>
              <a:chOff x="2824046" y="2723293"/>
              <a:chExt cx="1861308" cy="1448048"/>
            </a:xfrm>
          </p:grpSpPr>
          <p:pic>
            <p:nvPicPr>
              <p:cNvPr id="3" name="Graphic 2" descr="Storage Files">
                <a:extLst>
                  <a:ext uri="{FF2B5EF4-FFF2-40B4-BE49-F238E27FC236}">
                    <a16:creationId xmlns:a16="http://schemas.microsoft.com/office/drawing/2014/main" id="{56B97888-8B28-4E41-A288-BE7898014A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36428" y="3094735"/>
                <a:ext cx="636544" cy="636544"/>
              </a:xfrm>
              <a:prstGeom prst="rect">
                <a:avLst/>
              </a:prstGeom>
            </p:spPr>
          </p:pic>
          <p:sp>
            <p:nvSpPr>
              <p:cNvPr id="7" name="TextBox 6">
                <a:extLst>
                  <a:ext uri="{FF2B5EF4-FFF2-40B4-BE49-F238E27FC236}">
                    <a16:creationId xmlns:a16="http://schemas.microsoft.com/office/drawing/2014/main" id="{1C1CC32B-8E58-4608-A58F-50BA1DC2A2BA}"/>
                  </a:ext>
                </a:extLst>
              </p:cNvPr>
              <p:cNvSpPr txBox="1"/>
              <p:nvPr/>
            </p:nvSpPr>
            <p:spPr>
              <a:xfrm>
                <a:off x="3073179" y="3802009"/>
                <a:ext cx="1471791"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w-cost, tiered storage, with high availability/disaster recovery capabilities.</a:t>
                </a:r>
              </a:p>
            </p:txBody>
          </p:sp>
          <p:sp>
            <p:nvSpPr>
              <p:cNvPr id="14" name="TextBox 13">
                <a:extLst>
                  <a:ext uri="{FF2B5EF4-FFF2-40B4-BE49-F238E27FC236}">
                    <a16:creationId xmlns:a16="http://schemas.microsoft.com/office/drawing/2014/main" id="{689E6A69-77A0-4EE5-8BE1-60F2E6CB74AC}"/>
                  </a:ext>
                </a:extLst>
              </p:cNvPr>
              <p:cNvSpPr txBox="1"/>
              <p:nvPr/>
            </p:nvSpPr>
            <p:spPr>
              <a:xfrm>
                <a:off x="2824046" y="2723293"/>
                <a:ext cx="1861308"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Storage Account </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DLS Gen 2</a:t>
                </a:r>
              </a:p>
            </p:txBody>
          </p:sp>
        </p:grpSp>
        <p:cxnSp>
          <p:nvCxnSpPr>
            <p:cNvPr id="19" name="Straight Arrow Connector 18">
              <a:extLst>
                <a:ext uri="{FF2B5EF4-FFF2-40B4-BE49-F238E27FC236}">
                  <a16:creationId xmlns:a16="http://schemas.microsoft.com/office/drawing/2014/main" id="{2F076671-E697-40A7-8A88-88266548D304}"/>
                </a:ext>
              </a:extLst>
            </p:cNvPr>
            <p:cNvCxnSpPr>
              <a:cxnSpLocks/>
            </p:cNvCxnSpPr>
            <p:nvPr/>
          </p:nvCxnSpPr>
          <p:spPr>
            <a:xfrm flipV="1">
              <a:off x="7055685" y="3244529"/>
              <a:ext cx="560034" cy="1"/>
            </a:xfrm>
            <a:prstGeom prst="straightConnector1">
              <a:avLst/>
            </a:prstGeom>
            <a:noFill/>
            <a:ln w="19050" cap="flat" cmpd="sng" algn="ctr">
              <a:solidFill>
                <a:srgbClr val="0078D4"/>
              </a:solidFill>
              <a:prstDash val="solid"/>
              <a:headEnd type="none" w="lg" len="med"/>
              <a:tailEnd type="arrow" w="lg" len="sm"/>
            </a:ln>
            <a:effectLst/>
          </p:spPr>
        </p:cxnSp>
      </p:grpSp>
      <p:sp>
        <p:nvSpPr>
          <p:cNvPr id="6" name="Rectangle: Rounded Corners 5">
            <a:extLst>
              <a:ext uri="{FF2B5EF4-FFF2-40B4-BE49-F238E27FC236}">
                <a16:creationId xmlns:a16="http://schemas.microsoft.com/office/drawing/2014/main" id="{36204592-87D2-40F5-8D20-77F01DCA890D}"/>
              </a:ext>
            </a:extLst>
          </p:cNvPr>
          <p:cNvSpPr/>
          <p:nvPr/>
        </p:nvSpPr>
        <p:spPr bwMode="auto">
          <a:xfrm>
            <a:off x="8748103" y="2708462"/>
            <a:ext cx="1648228" cy="1502689"/>
          </a:xfrm>
          <a:prstGeom prst="roundRect">
            <a:avLst/>
          </a:prstGeom>
          <a:noFill/>
          <a:ln w="9525">
            <a:solidFill>
              <a:srgbClr val="FF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E08A315B-EAAA-41C0-8D4B-60CAD50FE45F}"/>
              </a:ext>
            </a:extLst>
          </p:cNvPr>
          <p:cNvSpPr txBox="1"/>
          <p:nvPr/>
        </p:nvSpPr>
        <p:spPr>
          <a:xfrm>
            <a:off x="10642359" y="3517399"/>
            <a:ext cx="1408837" cy="2215991"/>
          </a:xfrm>
          <a:prstGeom prst="rect">
            <a:avLst/>
          </a:prstGeom>
          <a:noFill/>
        </p:spPr>
        <p:txBody>
          <a:bodyPr wrap="square" lIns="0" tIns="0" rIns="0" bIns="0" rtlCol="0" anchor="ctr" anchorCtr="0">
            <a:spAutoFit/>
          </a:bodyPr>
          <a:lstStyle/>
          <a:p>
            <a:pPr defTabSz="914367">
              <a:defRPr/>
            </a:pPr>
            <a:r>
              <a:rPr lang="en-US" sz="900" b="1">
                <a:solidFill>
                  <a:srgbClr val="0070C0"/>
                </a:solidFill>
                <a:latin typeface="Segoe UI" panose="020B0502040204020203" pitchFamily="34" charset="0"/>
                <a:cs typeface="Segoe UI" panose="020B0502040204020203" pitchFamily="34" charset="0"/>
              </a:rPr>
              <a:t>BI semantic models </a:t>
            </a:r>
            <a:r>
              <a:rPr lang="en-US" sz="900">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represent a semantic layer over enterprise models. They're built and maintained by </a:t>
            </a:r>
            <a:r>
              <a:rPr lang="en-US" sz="900" b="1">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BI developers and business users. </a:t>
            </a:r>
            <a:r>
              <a:rPr lang="en-US" sz="900">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BI developers create core BI semantic models that source data from enterprise models. Business users can create smaller-scale, independent models—or, they can extend core BI semantic models with departmental or external sources. </a:t>
            </a:r>
          </a:p>
        </p:txBody>
      </p:sp>
      <p:cxnSp>
        <p:nvCxnSpPr>
          <p:cNvPr id="13" name="Straight Arrow Connector 12">
            <a:extLst>
              <a:ext uri="{FF2B5EF4-FFF2-40B4-BE49-F238E27FC236}">
                <a16:creationId xmlns:a16="http://schemas.microsoft.com/office/drawing/2014/main" id="{053CFC55-22D4-48D4-8AA0-413B945560F4}"/>
              </a:ext>
            </a:extLst>
          </p:cNvPr>
          <p:cNvCxnSpPr>
            <a:cxnSpLocks/>
          </p:cNvCxnSpPr>
          <p:nvPr/>
        </p:nvCxnSpPr>
        <p:spPr>
          <a:xfrm>
            <a:off x="10033182" y="4222728"/>
            <a:ext cx="529664" cy="346685"/>
          </a:xfrm>
          <a:prstGeom prst="straightConnector1">
            <a:avLst/>
          </a:prstGeom>
          <a:noFill/>
          <a:ln w="12700" cap="flat" cmpd="sng" algn="ctr">
            <a:solidFill>
              <a:srgbClr val="FF0000"/>
            </a:solidFill>
            <a:prstDash val="sysDash"/>
            <a:headEnd type="none" w="lg" len="med"/>
            <a:tailEnd type="arrow" w="lg" len="sm"/>
          </a:ln>
          <a:effectLst/>
        </p:spPr>
      </p:cxnSp>
      <p:cxnSp>
        <p:nvCxnSpPr>
          <p:cNvPr id="18" name="Straight Arrow Connector 17">
            <a:extLst>
              <a:ext uri="{FF2B5EF4-FFF2-40B4-BE49-F238E27FC236}">
                <a16:creationId xmlns:a16="http://schemas.microsoft.com/office/drawing/2014/main" id="{42E26363-F513-49C2-A6D3-1BD0DBA46967}"/>
              </a:ext>
            </a:extLst>
          </p:cNvPr>
          <p:cNvCxnSpPr>
            <a:cxnSpLocks/>
          </p:cNvCxnSpPr>
          <p:nvPr/>
        </p:nvCxnSpPr>
        <p:spPr>
          <a:xfrm>
            <a:off x="11062438" y="2396757"/>
            <a:ext cx="821173" cy="0"/>
          </a:xfrm>
          <a:prstGeom prst="straightConnector1">
            <a:avLst/>
          </a:prstGeom>
          <a:noFill/>
          <a:ln w="19050" cap="flat" cmpd="sng" algn="ctr">
            <a:solidFill>
              <a:srgbClr val="0078D4"/>
            </a:solidFill>
            <a:prstDash val="solid"/>
            <a:headEnd type="none" w="lg" len="med"/>
            <a:tailEnd type="arrow" w="lg" len="sm"/>
          </a:ln>
          <a:effectLst/>
        </p:spPr>
      </p:cxnSp>
      <p:sp>
        <p:nvSpPr>
          <p:cNvPr id="22" name="Rectangle 21">
            <a:extLst>
              <a:ext uri="{FF2B5EF4-FFF2-40B4-BE49-F238E27FC236}">
                <a16:creationId xmlns:a16="http://schemas.microsoft.com/office/drawing/2014/main" id="{44D8BBF2-0925-4792-988A-B67BCACD968C}"/>
              </a:ext>
            </a:extLst>
          </p:cNvPr>
          <p:cNvSpPr/>
          <p:nvPr/>
        </p:nvSpPr>
        <p:spPr bwMode="auto">
          <a:xfrm>
            <a:off x="10768272" y="482709"/>
            <a:ext cx="1187147" cy="2196677"/>
          </a:xfrm>
          <a:prstGeom prst="rect">
            <a:avLst/>
          </a:prstGeom>
          <a:solidFill>
            <a:schemeClr val="bg1">
              <a:lumMod val="75000"/>
            </a:schemeClr>
          </a:solidFill>
          <a:ln w="9525">
            <a:solidFill>
              <a:srgbClr val="FF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Database_EFC7" title="Icon of a cylinder">
            <a:extLst>
              <a:ext uri="{FF2B5EF4-FFF2-40B4-BE49-F238E27FC236}">
                <a16:creationId xmlns:a16="http://schemas.microsoft.com/office/drawing/2014/main" id="{49FB75BF-77A4-4666-802B-ADAB41FDCC44}"/>
              </a:ext>
            </a:extLst>
          </p:cNvPr>
          <p:cNvSpPr>
            <a:spLocks noChangeAspect="1" noEditPoints="1"/>
          </p:cNvSpPr>
          <p:nvPr/>
        </p:nvSpPr>
        <p:spPr bwMode="auto">
          <a:xfrm>
            <a:off x="11077446" y="806314"/>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Database_EFC7" title="Icon of a cylinder">
            <a:extLst>
              <a:ext uri="{FF2B5EF4-FFF2-40B4-BE49-F238E27FC236}">
                <a16:creationId xmlns:a16="http://schemas.microsoft.com/office/drawing/2014/main" id="{FE1F81F4-E3F0-41DD-BAFD-AF039EBAE601}"/>
              </a:ext>
            </a:extLst>
          </p:cNvPr>
          <p:cNvSpPr>
            <a:spLocks noChangeAspect="1" noEditPoints="1"/>
          </p:cNvSpPr>
          <p:nvPr/>
        </p:nvSpPr>
        <p:spPr bwMode="auto">
          <a:xfrm>
            <a:off x="11077446" y="1510942"/>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Database_EFC7" title="Icon of a cylinder">
            <a:extLst>
              <a:ext uri="{FF2B5EF4-FFF2-40B4-BE49-F238E27FC236}">
                <a16:creationId xmlns:a16="http://schemas.microsoft.com/office/drawing/2014/main" id="{8882C04E-76AC-40C6-BC0F-DAF0FD8A16C0}"/>
              </a:ext>
            </a:extLst>
          </p:cNvPr>
          <p:cNvSpPr>
            <a:spLocks noChangeAspect="1" noEditPoints="1"/>
          </p:cNvSpPr>
          <p:nvPr/>
        </p:nvSpPr>
        <p:spPr bwMode="auto">
          <a:xfrm>
            <a:off x="11077446" y="2135669"/>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TextBox 25">
            <a:extLst>
              <a:ext uri="{FF2B5EF4-FFF2-40B4-BE49-F238E27FC236}">
                <a16:creationId xmlns:a16="http://schemas.microsoft.com/office/drawing/2014/main" id="{75F1789D-E8D1-4EC6-B4EB-8ED785E42730}"/>
              </a:ext>
            </a:extLst>
          </p:cNvPr>
          <p:cNvSpPr txBox="1"/>
          <p:nvPr/>
        </p:nvSpPr>
        <p:spPr>
          <a:xfrm>
            <a:off x="10922172" y="635527"/>
            <a:ext cx="918129"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HR Data Mart</a:t>
            </a:r>
          </a:p>
        </p:txBody>
      </p:sp>
      <p:sp>
        <p:nvSpPr>
          <p:cNvPr id="27" name="TextBox 26">
            <a:extLst>
              <a:ext uri="{FF2B5EF4-FFF2-40B4-BE49-F238E27FC236}">
                <a16:creationId xmlns:a16="http://schemas.microsoft.com/office/drawing/2014/main" id="{8161C1F0-278E-4277-AB8F-81A7EC9F61CE}"/>
              </a:ext>
            </a:extLst>
          </p:cNvPr>
          <p:cNvSpPr txBox="1"/>
          <p:nvPr/>
        </p:nvSpPr>
        <p:spPr>
          <a:xfrm>
            <a:off x="10939797" y="1225527"/>
            <a:ext cx="838209"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Marketing Data Mart</a:t>
            </a:r>
          </a:p>
        </p:txBody>
      </p:sp>
      <p:sp>
        <p:nvSpPr>
          <p:cNvPr id="28" name="TextBox 27">
            <a:extLst>
              <a:ext uri="{FF2B5EF4-FFF2-40B4-BE49-F238E27FC236}">
                <a16:creationId xmlns:a16="http://schemas.microsoft.com/office/drawing/2014/main" id="{473E8817-6853-44A8-9903-8010C1AB8CE9}"/>
              </a:ext>
            </a:extLst>
          </p:cNvPr>
          <p:cNvSpPr txBox="1"/>
          <p:nvPr/>
        </p:nvSpPr>
        <p:spPr>
          <a:xfrm>
            <a:off x="10802148" y="2003523"/>
            <a:ext cx="1101814"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Sales Data Mart</a:t>
            </a:r>
          </a:p>
        </p:txBody>
      </p:sp>
      <p:cxnSp>
        <p:nvCxnSpPr>
          <p:cNvPr id="29" name="Straight Connector 28">
            <a:extLst>
              <a:ext uri="{FF2B5EF4-FFF2-40B4-BE49-F238E27FC236}">
                <a16:creationId xmlns:a16="http://schemas.microsoft.com/office/drawing/2014/main" id="{93C002F4-2D57-42F4-AC51-69B353CBB654}"/>
              </a:ext>
            </a:extLst>
          </p:cNvPr>
          <p:cNvCxnSpPr>
            <a:cxnSpLocks/>
          </p:cNvCxnSpPr>
          <p:nvPr/>
        </p:nvCxnSpPr>
        <p:spPr>
          <a:xfrm flipH="1">
            <a:off x="10333905" y="2449996"/>
            <a:ext cx="425587" cy="355697"/>
          </a:xfrm>
          <a:prstGeom prst="line">
            <a:avLst/>
          </a:prstGeom>
          <a:noFill/>
          <a:ln w="9525">
            <a:solidFill>
              <a:srgbClr val="FF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54" name="Picture 53">
            <a:extLst>
              <a:ext uri="{FF2B5EF4-FFF2-40B4-BE49-F238E27FC236}">
                <a16:creationId xmlns:a16="http://schemas.microsoft.com/office/drawing/2014/main" id="{0DFF2769-CB35-409F-90BA-5619824D75CA}"/>
              </a:ext>
            </a:extLst>
          </p:cNvPr>
          <p:cNvPicPr>
            <a:picLocks noChangeAspect="1"/>
          </p:cNvPicPr>
          <p:nvPr/>
        </p:nvPicPr>
        <p:blipFill>
          <a:blip r:embed="rId4"/>
          <a:stretch>
            <a:fillRect/>
          </a:stretch>
        </p:blipFill>
        <p:spPr>
          <a:xfrm>
            <a:off x="6626121" y="3161573"/>
            <a:ext cx="512712" cy="514929"/>
          </a:xfrm>
          <a:prstGeom prst="rect">
            <a:avLst/>
          </a:prstGeom>
        </p:spPr>
      </p:pic>
    </p:spTree>
    <p:extLst>
      <p:ext uri="{BB962C8B-B14F-4D97-AF65-F5344CB8AC3E}">
        <p14:creationId xmlns:p14="http://schemas.microsoft.com/office/powerpoint/2010/main" val="15503756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6F0D-D183-474E-B63D-492DD51C35E1}"/>
              </a:ext>
            </a:extLst>
          </p:cNvPr>
          <p:cNvSpPr>
            <a:spLocks noGrp="1"/>
          </p:cNvSpPr>
          <p:nvPr>
            <p:ph type="title"/>
          </p:nvPr>
        </p:nvSpPr>
        <p:spPr/>
        <p:txBody>
          <a:bodyPr/>
          <a:lstStyle/>
          <a:p>
            <a:r>
              <a:rPr lang="en-US" sz="2800"/>
              <a:t>Connection Mode</a:t>
            </a:r>
          </a:p>
        </p:txBody>
      </p:sp>
      <p:sp>
        <p:nvSpPr>
          <p:cNvPr id="8" name="Rectangle: Rounded Corners 7">
            <a:extLst>
              <a:ext uri="{FF2B5EF4-FFF2-40B4-BE49-F238E27FC236}">
                <a16:creationId xmlns:a16="http://schemas.microsoft.com/office/drawing/2014/main" id="{B44CF54E-5B81-4DDC-9887-BABE492DF040}"/>
              </a:ext>
            </a:extLst>
          </p:cNvPr>
          <p:cNvSpPr/>
          <p:nvPr/>
        </p:nvSpPr>
        <p:spPr bwMode="auto">
          <a:xfrm>
            <a:off x="7677419" y="2248289"/>
            <a:ext cx="1821767" cy="2946195"/>
          </a:xfrm>
          <a:prstGeom prst="roundRect">
            <a:avLst>
              <a:gd name="adj" fmla="val 5648"/>
            </a:avLst>
          </a:prstGeom>
          <a:noFill/>
          <a:ln w="28575">
            <a:solidFill>
              <a:srgbClr val="006DC0"/>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3106D8F3-0136-4469-BB75-3CA9BA14117A}"/>
              </a:ext>
            </a:extLst>
          </p:cNvPr>
          <p:cNvSpPr/>
          <p:nvPr/>
        </p:nvSpPr>
        <p:spPr bwMode="auto">
          <a:xfrm>
            <a:off x="1553888" y="2023525"/>
            <a:ext cx="3670009" cy="3308298"/>
          </a:xfrm>
          <a:prstGeom prst="roundRect">
            <a:avLst>
              <a:gd name="adj" fmla="val 353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2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061CAA94-C70D-4424-89F9-56007F9AEABF}"/>
              </a:ext>
            </a:extLst>
          </p:cNvPr>
          <p:cNvPicPr>
            <a:picLocks noChangeAspect="1"/>
          </p:cNvPicPr>
          <p:nvPr/>
        </p:nvPicPr>
        <p:blipFill>
          <a:blip r:embed="rId2"/>
          <a:stretch>
            <a:fillRect/>
          </a:stretch>
        </p:blipFill>
        <p:spPr>
          <a:xfrm>
            <a:off x="1722398" y="2147452"/>
            <a:ext cx="618869" cy="618870"/>
          </a:xfrm>
          <a:prstGeom prst="rect">
            <a:avLst/>
          </a:prstGeom>
        </p:spPr>
      </p:pic>
      <p:sp>
        <p:nvSpPr>
          <p:cNvPr id="19" name="TextBox 18">
            <a:extLst>
              <a:ext uri="{FF2B5EF4-FFF2-40B4-BE49-F238E27FC236}">
                <a16:creationId xmlns:a16="http://schemas.microsoft.com/office/drawing/2014/main" id="{87CF505F-FD28-4A7B-B070-F139B01D04CC}"/>
              </a:ext>
            </a:extLst>
          </p:cNvPr>
          <p:cNvSpPr txBox="1"/>
          <p:nvPr/>
        </p:nvSpPr>
        <p:spPr>
          <a:xfrm>
            <a:off x="6871386" y="3901965"/>
            <a:ext cx="968054" cy="152349"/>
          </a:xfrm>
          <a:prstGeom prst="rect">
            <a:avLst/>
          </a:prstGeom>
          <a:noFill/>
        </p:spPr>
        <p:txBody>
          <a:bodyPr wrap="square" lIns="0" tIns="0" rIns="0" bIns="0" rtlCol="0">
            <a:spAutoFit/>
          </a:bodyPr>
          <a:lstStyle/>
          <a:p>
            <a:pPr algn="ctr" defTabSz="914367">
              <a:lnSpc>
                <a:spcPct val="90000"/>
              </a:lnSpc>
              <a:defRPr/>
            </a:pPr>
            <a:r>
              <a:rPr lang="en-US" sz="1100">
                <a:solidFill>
                  <a:srgbClr val="000000"/>
                </a:solidFill>
                <a:latin typeface="Segoe UI Semibold"/>
              </a:rPr>
              <a:t>Power BI</a:t>
            </a:r>
          </a:p>
        </p:txBody>
      </p:sp>
      <p:sp>
        <p:nvSpPr>
          <p:cNvPr id="20" name="Database_EFC7" title="Icon of a cylinder">
            <a:extLst>
              <a:ext uri="{FF2B5EF4-FFF2-40B4-BE49-F238E27FC236}">
                <a16:creationId xmlns:a16="http://schemas.microsoft.com/office/drawing/2014/main" id="{AD1AD0BB-5EF0-4D6E-AD1B-D1C319E47D6F}"/>
              </a:ext>
            </a:extLst>
          </p:cNvPr>
          <p:cNvSpPr>
            <a:spLocks noChangeAspect="1" noEditPoints="1"/>
          </p:cNvSpPr>
          <p:nvPr/>
        </p:nvSpPr>
        <p:spPr bwMode="auto">
          <a:xfrm>
            <a:off x="2992421" y="2897368"/>
            <a:ext cx="911434" cy="112987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1" name="Database_EFC7" title="Icon of a cylinder">
            <a:extLst>
              <a:ext uri="{FF2B5EF4-FFF2-40B4-BE49-F238E27FC236}">
                <a16:creationId xmlns:a16="http://schemas.microsoft.com/office/drawing/2014/main" id="{C45F5569-3DE4-49E7-989B-F624E8B0158A}"/>
              </a:ext>
            </a:extLst>
          </p:cNvPr>
          <p:cNvSpPr>
            <a:spLocks noChangeAspect="1" noEditPoints="1"/>
          </p:cNvSpPr>
          <p:nvPr/>
        </p:nvSpPr>
        <p:spPr bwMode="auto">
          <a:xfrm>
            <a:off x="8279957" y="2615800"/>
            <a:ext cx="676537" cy="44388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2" name="Database_EFC7" title="Icon of a cylinder">
            <a:extLst>
              <a:ext uri="{FF2B5EF4-FFF2-40B4-BE49-F238E27FC236}">
                <a16:creationId xmlns:a16="http://schemas.microsoft.com/office/drawing/2014/main" id="{13A6139E-0A34-4803-A17E-6FDD61E011F7}"/>
              </a:ext>
            </a:extLst>
          </p:cNvPr>
          <p:cNvSpPr>
            <a:spLocks noChangeAspect="1" noEditPoints="1"/>
          </p:cNvSpPr>
          <p:nvPr/>
        </p:nvSpPr>
        <p:spPr bwMode="auto">
          <a:xfrm>
            <a:off x="8279957" y="3325334"/>
            <a:ext cx="676537" cy="44388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3" name="Database_EFC7" title="Icon of a cylinder">
            <a:extLst>
              <a:ext uri="{FF2B5EF4-FFF2-40B4-BE49-F238E27FC236}">
                <a16:creationId xmlns:a16="http://schemas.microsoft.com/office/drawing/2014/main" id="{86DFCC37-64E3-40FF-AF5D-095FAEC94E7D}"/>
              </a:ext>
            </a:extLst>
          </p:cNvPr>
          <p:cNvSpPr>
            <a:spLocks noChangeAspect="1" noEditPoints="1"/>
          </p:cNvSpPr>
          <p:nvPr/>
        </p:nvSpPr>
        <p:spPr bwMode="auto">
          <a:xfrm>
            <a:off x="8279957" y="4068421"/>
            <a:ext cx="676537" cy="44388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7" name="TextBox 26">
            <a:extLst>
              <a:ext uri="{FF2B5EF4-FFF2-40B4-BE49-F238E27FC236}">
                <a16:creationId xmlns:a16="http://schemas.microsoft.com/office/drawing/2014/main" id="{CF4DF96B-7A0E-4F20-AE1D-EECCC2F1E11F}"/>
              </a:ext>
            </a:extLst>
          </p:cNvPr>
          <p:cNvSpPr txBox="1"/>
          <p:nvPr/>
        </p:nvSpPr>
        <p:spPr>
          <a:xfrm>
            <a:off x="3058862" y="3462303"/>
            <a:ext cx="778553" cy="306238"/>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ata Warehouse</a:t>
            </a:r>
          </a:p>
        </p:txBody>
      </p:sp>
      <p:sp>
        <p:nvSpPr>
          <p:cNvPr id="28" name="TextBox 27">
            <a:extLst>
              <a:ext uri="{FF2B5EF4-FFF2-40B4-BE49-F238E27FC236}">
                <a16:creationId xmlns:a16="http://schemas.microsoft.com/office/drawing/2014/main" id="{1731FCFC-4EB4-4B69-86F9-A85892C3E8C5}"/>
              </a:ext>
            </a:extLst>
          </p:cNvPr>
          <p:cNvSpPr txBox="1"/>
          <p:nvPr/>
        </p:nvSpPr>
        <p:spPr>
          <a:xfrm>
            <a:off x="8096366" y="2430714"/>
            <a:ext cx="1103457" cy="15234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HR Data Mart</a:t>
            </a:r>
          </a:p>
        </p:txBody>
      </p:sp>
      <p:sp>
        <p:nvSpPr>
          <p:cNvPr id="29" name="TextBox 28">
            <a:extLst>
              <a:ext uri="{FF2B5EF4-FFF2-40B4-BE49-F238E27FC236}">
                <a16:creationId xmlns:a16="http://schemas.microsoft.com/office/drawing/2014/main" id="{D0C73C54-A7D2-43BC-8D76-5F955EBEF711}"/>
              </a:ext>
            </a:extLst>
          </p:cNvPr>
          <p:cNvSpPr txBox="1"/>
          <p:nvPr/>
        </p:nvSpPr>
        <p:spPr>
          <a:xfrm>
            <a:off x="7819095" y="3158955"/>
            <a:ext cx="1538414" cy="15234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Marketing Data Mart</a:t>
            </a:r>
          </a:p>
        </p:txBody>
      </p:sp>
      <p:sp>
        <p:nvSpPr>
          <p:cNvPr id="30" name="TextBox 29">
            <a:extLst>
              <a:ext uri="{FF2B5EF4-FFF2-40B4-BE49-F238E27FC236}">
                <a16:creationId xmlns:a16="http://schemas.microsoft.com/office/drawing/2014/main" id="{9C45373B-4CF5-428E-B686-13407C50EAA6}"/>
              </a:ext>
            </a:extLst>
          </p:cNvPr>
          <p:cNvSpPr txBox="1"/>
          <p:nvPr/>
        </p:nvSpPr>
        <p:spPr>
          <a:xfrm>
            <a:off x="7973668" y="3888013"/>
            <a:ext cx="1324220" cy="15234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Sales Data Mart</a:t>
            </a:r>
          </a:p>
        </p:txBody>
      </p:sp>
      <p:cxnSp>
        <p:nvCxnSpPr>
          <p:cNvPr id="32" name="Straight Connector 31">
            <a:extLst>
              <a:ext uri="{FF2B5EF4-FFF2-40B4-BE49-F238E27FC236}">
                <a16:creationId xmlns:a16="http://schemas.microsoft.com/office/drawing/2014/main" id="{E69F9B06-09F2-43BD-9A9E-E6EF8A298F3C}"/>
              </a:ext>
            </a:extLst>
          </p:cNvPr>
          <p:cNvCxnSpPr>
            <a:cxnSpLocks/>
          </p:cNvCxnSpPr>
          <p:nvPr/>
        </p:nvCxnSpPr>
        <p:spPr>
          <a:xfrm flipV="1">
            <a:off x="5190393" y="3395041"/>
            <a:ext cx="1821767" cy="4650"/>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CDDAA8A-5314-4374-AE63-E924F9BC1A9C}"/>
              </a:ext>
            </a:extLst>
          </p:cNvPr>
          <p:cNvSpPr txBox="1"/>
          <p:nvPr/>
        </p:nvSpPr>
        <p:spPr>
          <a:xfrm>
            <a:off x="5443529" y="3219286"/>
            <a:ext cx="1470110" cy="166200"/>
          </a:xfrm>
          <a:prstGeom prst="rect">
            <a:avLst/>
          </a:prstGeom>
          <a:noFill/>
        </p:spPr>
        <p:txBody>
          <a:bodyPr wrap="square" lIns="0" tIns="0" rIns="0" bIns="0" rtlCol="0">
            <a:spAutoFit/>
          </a:bodyPr>
          <a:lstStyle/>
          <a:p>
            <a:pPr algn="ctr" defTabSz="914367">
              <a:lnSpc>
                <a:spcPct val="90000"/>
              </a:lnSpc>
              <a:defRPr/>
            </a:pPr>
            <a:r>
              <a:rPr lang="en-US" sz="1200" err="1">
                <a:solidFill>
                  <a:srgbClr val="000000"/>
                </a:solidFill>
                <a:latin typeface="Segoe UI Semibold"/>
              </a:rPr>
              <a:t>DirectQuery</a:t>
            </a:r>
            <a:endParaRPr lang="en-US" sz="1200">
              <a:solidFill>
                <a:srgbClr val="000000"/>
              </a:solidFill>
              <a:latin typeface="Segoe UI Semibold"/>
            </a:endParaRPr>
          </a:p>
        </p:txBody>
      </p:sp>
      <p:cxnSp>
        <p:nvCxnSpPr>
          <p:cNvPr id="31" name="Straight Connector 30">
            <a:extLst>
              <a:ext uri="{FF2B5EF4-FFF2-40B4-BE49-F238E27FC236}">
                <a16:creationId xmlns:a16="http://schemas.microsoft.com/office/drawing/2014/main" id="{0485D589-4886-4035-929C-1A09C3363A34}"/>
              </a:ext>
            </a:extLst>
          </p:cNvPr>
          <p:cNvCxnSpPr>
            <a:cxnSpLocks/>
          </p:cNvCxnSpPr>
          <p:nvPr/>
        </p:nvCxnSpPr>
        <p:spPr>
          <a:xfrm flipV="1">
            <a:off x="5209165" y="3659443"/>
            <a:ext cx="1821767" cy="4650"/>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4DC659C-2B54-4F89-93F5-4BB19B2EFE1E}"/>
              </a:ext>
            </a:extLst>
          </p:cNvPr>
          <p:cNvSpPr txBox="1"/>
          <p:nvPr/>
        </p:nvSpPr>
        <p:spPr>
          <a:xfrm>
            <a:off x="5401276" y="3492988"/>
            <a:ext cx="1470110" cy="166200"/>
          </a:xfrm>
          <a:prstGeom prst="rect">
            <a:avLst/>
          </a:prstGeom>
          <a:noFill/>
        </p:spPr>
        <p:txBody>
          <a:bodyPr wrap="square" lIns="0" tIns="0" rIns="0" bIns="0" rtlCol="0">
            <a:spAutoFit/>
          </a:bodyPr>
          <a:lstStyle/>
          <a:p>
            <a:pPr algn="ctr" defTabSz="914367">
              <a:lnSpc>
                <a:spcPct val="90000"/>
              </a:lnSpc>
              <a:defRPr/>
            </a:pPr>
            <a:r>
              <a:rPr lang="en-US" sz="1200">
                <a:solidFill>
                  <a:srgbClr val="000000"/>
                </a:solidFill>
                <a:latin typeface="Segoe UI Semibold"/>
              </a:rPr>
              <a:t>Import</a:t>
            </a:r>
          </a:p>
        </p:txBody>
      </p:sp>
      <p:sp>
        <p:nvSpPr>
          <p:cNvPr id="34" name="Freeform: Shape 282">
            <a:extLst>
              <a:ext uri="{FF2B5EF4-FFF2-40B4-BE49-F238E27FC236}">
                <a16:creationId xmlns:a16="http://schemas.microsoft.com/office/drawing/2014/main" id="{D44AB07F-1B6A-4B69-9634-72FC8C038A40}"/>
              </a:ext>
            </a:extLst>
          </p:cNvPr>
          <p:cNvSpPr/>
          <p:nvPr/>
        </p:nvSpPr>
        <p:spPr>
          <a:xfrm>
            <a:off x="7007380" y="3262810"/>
            <a:ext cx="696069" cy="573834"/>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000000"/>
              </a:solidFill>
              <a:effectLst/>
              <a:uLnTx/>
              <a:uFillTx/>
              <a:latin typeface="Calibri" panose="020F0502020204030204"/>
            </a:endParaRPr>
          </a:p>
        </p:txBody>
      </p:sp>
      <p:sp>
        <p:nvSpPr>
          <p:cNvPr id="9" name="TextBox 8">
            <a:extLst>
              <a:ext uri="{FF2B5EF4-FFF2-40B4-BE49-F238E27FC236}">
                <a16:creationId xmlns:a16="http://schemas.microsoft.com/office/drawing/2014/main" id="{3DBD1327-197B-444A-A563-FF0A811E5064}"/>
              </a:ext>
            </a:extLst>
          </p:cNvPr>
          <p:cNvSpPr txBox="1"/>
          <p:nvPr/>
        </p:nvSpPr>
        <p:spPr>
          <a:xfrm>
            <a:off x="7712128" y="4598635"/>
            <a:ext cx="1847301"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b="1">
                <a:solidFill>
                  <a:srgbClr val="006DC0"/>
                </a:solidFill>
              </a:rPr>
              <a:t>As Power BI Dataset</a:t>
            </a:r>
          </a:p>
        </p:txBody>
      </p:sp>
      <p:sp>
        <p:nvSpPr>
          <p:cNvPr id="36" name="TextBox 35">
            <a:extLst>
              <a:ext uri="{FF2B5EF4-FFF2-40B4-BE49-F238E27FC236}">
                <a16:creationId xmlns:a16="http://schemas.microsoft.com/office/drawing/2014/main" id="{91028DC9-BA6D-4854-B91B-7ED6136F1DA0}"/>
              </a:ext>
            </a:extLst>
          </p:cNvPr>
          <p:cNvSpPr txBox="1"/>
          <p:nvPr/>
        </p:nvSpPr>
        <p:spPr>
          <a:xfrm>
            <a:off x="257452" y="722805"/>
            <a:ext cx="11505011" cy="794064"/>
          </a:xfrm>
          <a:prstGeom prst="rect">
            <a:avLst/>
          </a:prstGeom>
          <a:noFill/>
        </p:spPr>
        <p:txBody>
          <a:bodyPr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Create Sematic Model (Dataset) in Power BI, by leveraging Composite model use aggregation table with </a:t>
            </a:r>
            <a:r>
              <a:rPr lang="en-US" b="1">
                <a:gradFill>
                  <a:gsLst>
                    <a:gs pos="2917">
                      <a:schemeClr val="tx1"/>
                    </a:gs>
                    <a:gs pos="30000">
                      <a:schemeClr val="tx1"/>
                    </a:gs>
                  </a:gsLst>
                  <a:lin ang="5400000" scaled="0"/>
                </a:gradFill>
              </a:rPr>
              <a:t>Import</a:t>
            </a:r>
            <a:r>
              <a:rPr lang="en-US">
                <a:gradFill>
                  <a:gsLst>
                    <a:gs pos="2917">
                      <a:schemeClr val="tx1"/>
                    </a:gs>
                    <a:gs pos="30000">
                      <a:schemeClr val="tx1"/>
                    </a:gs>
                  </a:gsLst>
                  <a:lin ang="5400000" scaled="0"/>
                </a:gradFill>
              </a:rPr>
              <a:t> model and detail or </a:t>
            </a:r>
            <a:r>
              <a:rPr lang="en-US" err="1">
                <a:gradFill>
                  <a:gsLst>
                    <a:gs pos="2917">
                      <a:schemeClr val="tx1"/>
                    </a:gs>
                    <a:gs pos="30000">
                      <a:schemeClr val="tx1"/>
                    </a:gs>
                  </a:gsLst>
                  <a:lin ang="5400000" scaled="0"/>
                </a:gradFill>
              </a:rPr>
              <a:t>adhoc</a:t>
            </a:r>
            <a:r>
              <a:rPr lang="en-US">
                <a:gradFill>
                  <a:gsLst>
                    <a:gs pos="2917">
                      <a:schemeClr val="tx1"/>
                    </a:gs>
                    <a:gs pos="30000">
                      <a:schemeClr val="tx1"/>
                    </a:gs>
                  </a:gsLst>
                  <a:lin ang="5400000" scaled="0"/>
                </a:gradFill>
              </a:rPr>
              <a:t> query with </a:t>
            </a:r>
            <a:r>
              <a:rPr lang="en-US" b="1" err="1">
                <a:gradFill>
                  <a:gsLst>
                    <a:gs pos="2917">
                      <a:schemeClr val="tx1"/>
                    </a:gs>
                    <a:gs pos="30000">
                      <a:schemeClr val="tx1"/>
                    </a:gs>
                  </a:gsLst>
                  <a:lin ang="5400000" scaled="0"/>
                </a:gradFill>
              </a:rPr>
              <a:t>DirectQuery</a:t>
            </a:r>
            <a:r>
              <a:rPr lang="en-US">
                <a:gradFill>
                  <a:gsLst>
                    <a:gs pos="2917">
                      <a:schemeClr val="tx1"/>
                    </a:gs>
                    <a:gs pos="30000">
                      <a:schemeClr val="tx1"/>
                    </a:gs>
                  </a:gsLst>
                  <a:lin ang="5400000" scaled="0"/>
                </a:gradFill>
              </a:rPr>
              <a:t> mode to Azure Synapse analytics </a:t>
            </a:r>
          </a:p>
        </p:txBody>
      </p:sp>
    </p:spTree>
    <p:extLst>
      <p:ext uri="{BB962C8B-B14F-4D97-AF65-F5344CB8AC3E}">
        <p14:creationId xmlns:p14="http://schemas.microsoft.com/office/powerpoint/2010/main" val="8985280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35E85-0426-41E5-9B1D-BFD99AF4C029}"/>
              </a:ext>
            </a:extLst>
          </p:cNvPr>
          <p:cNvSpPr>
            <a:spLocks noGrp="1"/>
          </p:cNvSpPr>
          <p:nvPr>
            <p:ph type="title"/>
          </p:nvPr>
        </p:nvSpPr>
        <p:spPr/>
        <p:txBody>
          <a:bodyPr/>
          <a:lstStyle/>
          <a:p>
            <a:r>
              <a:rPr lang="en-US" sz="2800"/>
              <a:t>Advantages</a:t>
            </a:r>
          </a:p>
        </p:txBody>
      </p:sp>
      <p:sp>
        <p:nvSpPr>
          <p:cNvPr id="4" name="TextBox 3">
            <a:extLst>
              <a:ext uri="{FF2B5EF4-FFF2-40B4-BE49-F238E27FC236}">
                <a16:creationId xmlns:a16="http://schemas.microsoft.com/office/drawing/2014/main" id="{F1A00794-9E11-49A9-97EC-61DBBE0EC2C0}"/>
              </a:ext>
            </a:extLst>
          </p:cNvPr>
          <p:cNvSpPr txBox="1"/>
          <p:nvPr/>
        </p:nvSpPr>
        <p:spPr>
          <a:xfrm>
            <a:off x="426424" y="980605"/>
            <a:ext cx="11162602" cy="3139321"/>
          </a:xfrm>
          <a:prstGeom prst="rect">
            <a:avLst/>
          </a:prstGeom>
          <a:noFill/>
        </p:spPr>
        <p:txBody>
          <a:bodyPr wrap="square">
            <a:spAutoFit/>
          </a:bodyPr>
          <a:lstStyle/>
          <a:p>
            <a:pPr marL="285750" indent="-285750">
              <a:buFont typeface="Arial" panose="020B0604020202020204" pitchFamily="34" charset="0"/>
              <a:buChar char="•"/>
            </a:pPr>
            <a:r>
              <a:rPr lang="en-US" dirty="0"/>
              <a:t>Allow for </a:t>
            </a:r>
            <a:r>
              <a:rPr lang="en-US" b="1" dirty="0"/>
              <a:t>faster query performance</a:t>
            </a:r>
          </a:p>
          <a:p>
            <a:pPr marL="285750" indent="-285750">
              <a:buFont typeface="Arial" panose="020B0604020202020204" pitchFamily="34" charset="0"/>
              <a:buChar char="•"/>
            </a:pPr>
            <a:r>
              <a:rPr lang="en-US" dirty="0"/>
              <a:t>Leverage </a:t>
            </a:r>
            <a:r>
              <a:rPr lang="en-US" b="1" dirty="0"/>
              <a:t>DAX functionality</a:t>
            </a:r>
          </a:p>
          <a:p>
            <a:pPr marL="285750" indent="-285750">
              <a:buFont typeface="Arial" panose="020B0604020202020204" pitchFamily="34" charset="0"/>
              <a:buChar char="•"/>
            </a:pPr>
            <a:r>
              <a:rPr lang="en-US" dirty="0"/>
              <a:t>More flexible to combine with other dataset/ data sources</a:t>
            </a:r>
          </a:p>
          <a:p>
            <a:pPr marL="285750" indent="-285750">
              <a:buFont typeface="Arial" panose="020B0604020202020204" pitchFamily="34" charset="0"/>
              <a:buChar char="•"/>
            </a:pPr>
            <a:r>
              <a:rPr lang="en-US" dirty="0"/>
              <a:t>Time intelligence capabilities</a:t>
            </a:r>
            <a:endParaRPr lang="en-US" b="1" dirty="0"/>
          </a:p>
          <a:p>
            <a:pPr marL="285750" indent="-285750">
              <a:buFont typeface="Arial" panose="020B0604020202020204" pitchFamily="34" charset="0"/>
              <a:buChar char="•"/>
            </a:pPr>
            <a:r>
              <a:rPr lang="en-US" dirty="0"/>
              <a:t>As source still resides in Synapse, these functionality can be used (on the Synapse side though):</a:t>
            </a:r>
          </a:p>
          <a:p>
            <a:pPr marL="742950" lvl="1" indent="-285750">
              <a:buFont typeface="Arial" panose="020B0604020202020204" pitchFamily="34" charset="0"/>
              <a:buChar char="•"/>
            </a:pPr>
            <a:r>
              <a:rPr lang="en-US" dirty="0"/>
              <a:t>Materialized views</a:t>
            </a:r>
          </a:p>
          <a:p>
            <a:pPr marL="742950" lvl="1" indent="-285750">
              <a:buFont typeface="Arial" panose="020B0604020202020204" pitchFamily="34" charset="0"/>
              <a:buChar char="•"/>
            </a:pPr>
            <a:r>
              <a:rPr lang="en-US" dirty="0"/>
              <a:t>Result-set cache</a:t>
            </a:r>
          </a:p>
          <a:p>
            <a:pPr marL="742950" lvl="1" indent="-285750">
              <a:buFont typeface="Arial" panose="020B0604020202020204" pitchFamily="34" charset="0"/>
              <a:buChar char="•"/>
            </a:pPr>
            <a:r>
              <a:rPr lang="en-US" dirty="0"/>
              <a:t>Security </a:t>
            </a:r>
          </a:p>
          <a:p>
            <a:pPr marL="1200150" lvl="2" indent="-285750">
              <a:buFont typeface="Arial" panose="020B0604020202020204" pitchFamily="34" charset="0"/>
              <a:buChar char="•"/>
            </a:pPr>
            <a:r>
              <a:rPr lang="en-US" dirty="0"/>
              <a:t>Row-level security (RLS)</a:t>
            </a:r>
          </a:p>
          <a:p>
            <a:pPr marL="1200150" lvl="2" indent="-285750">
              <a:buFont typeface="Arial" panose="020B0604020202020204" pitchFamily="34" charset="0"/>
              <a:buChar char="•"/>
            </a:pPr>
            <a:r>
              <a:rPr lang="en-US" dirty="0"/>
              <a:t>Column-level security</a:t>
            </a:r>
          </a:p>
          <a:p>
            <a:pPr marL="1200150" lvl="2" indent="-285750">
              <a:buFont typeface="Arial" panose="020B0604020202020204" pitchFamily="34" charset="0"/>
              <a:buChar char="•"/>
            </a:pPr>
            <a:r>
              <a:rPr lang="en-US" dirty="0"/>
              <a:t>Dynamic Data Masking</a:t>
            </a:r>
          </a:p>
        </p:txBody>
      </p:sp>
    </p:spTree>
    <p:extLst>
      <p:ext uri="{BB962C8B-B14F-4D97-AF65-F5344CB8AC3E}">
        <p14:creationId xmlns:p14="http://schemas.microsoft.com/office/powerpoint/2010/main" val="138161084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2A07D-F7FA-4CD3-81B6-51E23B13B73F}"/>
              </a:ext>
            </a:extLst>
          </p:cNvPr>
          <p:cNvSpPr>
            <a:spLocks noGrp="1"/>
          </p:cNvSpPr>
          <p:nvPr>
            <p:ph type="title"/>
          </p:nvPr>
        </p:nvSpPr>
        <p:spPr/>
        <p:txBody>
          <a:bodyPr/>
          <a:lstStyle/>
          <a:p>
            <a:r>
              <a:rPr lang="en-US" sz="2800"/>
              <a:t>Disadvantages</a:t>
            </a:r>
          </a:p>
        </p:txBody>
      </p:sp>
      <p:sp>
        <p:nvSpPr>
          <p:cNvPr id="6" name="TextBox 5">
            <a:extLst>
              <a:ext uri="{FF2B5EF4-FFF2-40B4-BE49-F238E27FC236}">
                <a16:creationId xmlns:a16="http://schemas.microsoft.com/office/drawing/2014/main" id="{3D8384C1-5DD0-4F35-B554-A7C273CFBB05}"/>
              </a:ext>
            </a:extLst>
          </p:cNvPr>
          <p:cNvSpPr txBox="1"/>
          <p:nvPr/>
        </p:nvSpPr>
        <p:spPr>
          <a:xfrm>
            <a:off x="426423" y="980605"/>
            <a:ext cx="11083089" cy="2585323"/>
          </a:xfrm>
          <a:prstGeom prst="rect">
            <a:avLst/>
          </a:prstGeom>
          <a:noFill/>
        </p:spPr>
        <p:txBody>
          <a:bodyPr wrap="square">
            <a:spAutoFit/>
          </a:bodyPr>
          <a:lstStyle/>
          <a:p>
            <a:pPr marL="285750" indent="-285750">
              <a:buFont typeface="Arial" panose="020B0604020202020204" pitchFamily="34" charset="0"/>
              <a:buChar char="•"/>
            </a:pPr>
            <a:r>
              <a:rPr lang="en-US" dirty="0"/>
              <a:t>Lack some part of the security, particularly </a:t>
            </a:r>
            <a:r>
              <a:rPr lang="en-US" b="1" dirty="0"/>
              <a:t>column-level security</a:t>
            </a:r>
            <a:endParaRPr lang="en-US" dirty="0"/>
          </a:p>
          <a:p>
            <a:pPr marL="285750" indent="-285750">
              <a:buFont typeface="Arial" panose="020B0604020202020204" pitchFamily="34" charset="0"/>
              <a:buChar char="•"/>
            </a:pPr>
            <a:r>
              <a:rPr lang="en-US" dirty="0"/>
              <a:t>No Perspectives feature yet. </a:t>
            </a:r>
            <a:r>
              <a:rPr lang="en-US" b="1" dirty="0"/>
              <a:t>Perspectives</a:t>
            </a:r>
            <a:r>
              <a:rPr lang="en-US" dirty="0"/>
              <a:t>, in tabular models, define viewable subsets of a model that provide focused, business-specific, or application-specific viewpoints of the model</a:t>
            </a:r>
          </a:p>
          <a:p>
            <a:pPr marL="285750" indent="-285750">
              <a:buFont typeface="Arial" panose="020B0604020202020204" pitchFamily="34" charset="0"/>
              <a:buChar char="•"/>
            </a:pPr>
            <a:r>
              <a:rPr lang="en-US" dirty="0"/>
              <a:t>Need schedule to refresh data to keep data current - it may bottleneck if we have so many schedule at the same time</a:t>
            </a:r>
          </a:p>
          <a:p>
            <a:pPr marL="285750" indent="-285750">
              <a:buFont typeface="Arial" panose="020B0604020202020204" pitchFamily="34" charset="0"/>
              <a:buChar char="•"/>
            </a:pPr>
            <a:r>
              <a:rPr lang="en-US" dirty="0"/>
              <a:t>There’s a dataset size limit (400GB)</a:t>
            </a:r>
          </a:p>
          <a:p>
            <a:pPr marL="742950" lvl="1" indent="-285750">
              <a:buFont typeface="Arial" panose="020B0604020202020204" pitchFamily="34" charset="0"/>
              <a:buChar char="•"/>
            </a:pPr>
            <a:r>
              <a:rPr lang="en-US" dirty="0"/>
              <a:t>Large datasets can be enabled for all Premium P SKUs and Embedded A SKUs. </a:t>
            </a:r>
            <a:r>
              <a:rPr lang="en-US" b="1" dirty="0"/>
              <a:t>The large dataset size limit in Premium is comparable to Azure Analysis Services</a:t>
            </a:r>
            <a:r>
              <a:rPr lang="en-US" dirty="0"/>
              <a:t>, in terms of data model size limitations.</a:t>
            </a:r>
          </a:p>
        </p:txBody>
      </p:sp>
    </p:spTree>
    <p:extLst>
      <p:ext uri="{BB962C8B-B14F-4D97-AF65-F5344CB8AC3E}">
        <p14:creationId xmlns:p14="http://schemas.microsoft.com/office/powerpoint/2010/main" val="24952887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85D15AFC-8F42-44E5-860B-D28B879BE866}"/>
              </a:ext>
            </a:extLst>
          </p:cNvPr>
          <p:cNvSpPr/>
          <p:nvPr/>
        </p:nvSpPr>
        <p:spPr bwMode="auto">
          <a:xfrm>
            <a:off x="9201311" y="394405"/>
            <a:ext cx="976542" cy="8290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B2058728-162B-4040-BD44-62E797B48D7D}"/>
              </a:ext>
            </a:extLst>
          </p:cNvPr>
          <p:cNvSpPr>
            <a:spLocks noGrp="1"/>
          </p:cNvSpPr>
          <p:nvPr>
            <p:ph type="title"/>
          </p:nvPr>
        </p:nvSpPr>
        <p:spPr>
          <a:xfrm>
            <a:off x="427980" y="5564"/>
            <a:ext cx="11336039" cy="758022"/>
          </a:xfrm>
        </p:spPr>
        <p:txBody>
          <a:bodyPr/>
          <a:lstStyle/>
          <a:p>
            <a:r>
              <a:rPr lang="en-US"/>
              <a:t>Decision Flow</a:t>
            </a:r>
          </a:p>
        </p:txBody>
      </p:sp>
      <p:sp>
        <p:nvSpPr>
          <p:cNvPr id="7" name="TextBox 6">
            <a:extLst>
              <a:ext uri="{FF2B5EF4-FFF2-40B4-BE49-F238E27FC236}">
                <a16:creationId xmlns:a16="http://schemas.microsoft.com/office/drawing/2014/main" id="{ED63F31B-C570-4390-8064-CBCAEBAAE8E3}"/>
              </a:ext>
            </a:extLst>
          </p:cNvPr>
          <p:cNvSpPr txBox="1"/>
          <p:nvPr/>
        </p:nvSpPr>
        <p:spPr>
          <a:xfrm>
            <a:off x="3289139" y="632434"/>
            <a:ext cx="5420843" cy="766364"/>
          </a:xfrm>
          <a:prstGeom prst="rect">
            <a:avLst/>
          </a:prstGeom>
        </p:spPr>
        <p:txBody>
          <a:bodyPr vert="horz" wrap="square" lIns="0" tIns="164592" rIns="0" bIns="0" rtlCol="0" anchor="t">
            <a:noAutofit/>
          </a:bodyPr>
          <a:lstStyle>
            <a:lvl1pPr defTabSz="914192">
              <a:lnSpc>
                <a:spcPct val="90000"/>
              </a:lnSpc>
              <a:spcBef>
                <a:spcPct val="0"/>
              </a:spcBef>
              <a:buNone/>
              <a:defRPr lang="en-US" sz="3400" b="0" cap="none" spc="-147" baseline="0">
                <a:ln w="3175">
                  <a:noFill/>
                </a:ln>
                <a:solidFill>
                  <a:schemeClr val="tx2"/>
                </a:solidFill>
                <a:effectLst/>
                <a:latin typeface="+mj-lt"/>
                <a:cs typeface="Segoe UI" pitchFamily="34" charset="0"/>
              </a:defRPr>
            </a:lvl1pPr>
          </a:lstStyle>
          <a:p>
            <a:pPr algn="ctr"/>
            <a:r>
              <a:rPr lang="en-US" sz="2400"/>
              <a:t>Where will Data Mart be resided?</a:t>
            </a:r>
          </a:p>
        </p:txBody>
      </p:sp>
      <p:cxnSp>
        <p:nvCxnSpPr>
          <p:cNvPr id="9" name="Straight Connector 8">
            <a:extLst>
              <a:ext uri="{FF2B5EF4-FFF2-40B4-BE49-F238E27FC236}">
                <a16:creationId xmlns:a16="http://schemas.microsoft.com/office/drawing/2014/main" id="{CEA1B712-70AE-46B2-B7EB-168EE6B36491}"/>
              </a:ext>
            </a:extLst>
          </p:cNvPr>
          <p:cNvCxnSpPr>
            <a:cxnSpLocks/>
          </p:cNvCxnSpPr>
          <p:nvPr/>
        </p:nvCxnSpPr>
        <p:spPr>
          <a:xfrm>
            <a:off x="5914829" y="965661"/>
            <a:ext cx="0" cy="4941777"/>
          </a:xfrm>
          <a:prstGeom prst="line">
            <a:avLst/>
          </a:prstGeom>
          <a:ln>
            <a:solidFill>
              <a:schemeClr val="bg2">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00E8F11-625E-4026-9784-DCCE11EA8806}"/>
              </a:ext>
            </a:extLst>
          </p:cNvPr>
          <p:cNvPicPr>
            <a:picLocks noChangeAspect="1"/>
          </p:cNvPicPr>
          <p:nvPr/>
        </p:nvPicPr>
        <p:blipFill>
          <a:blip r:embed="rId2"/>
          <a:stretch>
            <a:fillRect/>
          </a:stretch>
        </p:blipFill>
        <p:spPr>
          <a:xfrm>
            <a:off x="1618080" y="582479"/>
            <a:ext cx="641004" cy="641004"/>
          </a:xfrm>
          <a:prstGeom prst="rect">
            <a:avLst/>
          </a:prstGeom>
        </p:spPr>
      </p:pic>
      <p:sp>
        <p:nvSpPr>
          <p:cNvPr id="11" name="Freeform: Shape 282">
            <a:extLst>
              <a:ext uri="{FF2B5EF4-FFF2-40B4-BE49-F238E27FC236}">
                <a16:creationId xmlns:a16="http://schemas.microsoft.com/office/drawing/2014/main" id="{8667D51A-42DA-40B2-BF31-715DD08FCACA}"/>
              </a:ext>
            </a:extLst>
          </p:cNvPr>
          <p:cNvSpPr/>
          <p:nvPr/>
        </p:nvSpPr>
        <p:spPr>
          <a:xfrm>
            <a:off x="9374160" y="624395"/>
            <a:ext cx="579163" cy="477457"/>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a:endParaRPr>
          </a:p>
        </p:txBody>
      </p:sp>
      <p:grpSp>
        <p:nvGrpSpPr>
          <p:cNvPr id="19" name="Group 18">
            <a:extLst>
              <a:ext uri="{FF2B5EF4-FFF2-40B4-BE49-F238E27FC236}">
                <a16:creationId xmlns:a16="http://schemas.microsoft.com/office/drawing/2014/main" id="{0EAE4967-2CCF-483F-A173-7A3940ABFB46}"/>
              </a:ext>
            </a:extLst>
          </p:cNvPr>
          <p:cNvGrpSpPr/>
          <p:nvPr/>
        </p:nvGrpSpPr>
        <p:grpSpPr>
          <a:xfrm>
            <a:off x="8031717" y="1384223"/>
            <a:ext cx="858248" cy="646331"/>
            <a:chOff x="2938726" y="2223814"/>
            <a:chExt cx="858248" cy="646331"/>
          </a:xfrm>
        </p:grpSpPr>
        <p:sp>
          <p:nvSpPr>
            <p:cNvPr id="14" name="Oval 13">
              <a:extLst>
                <a:ext uri="{FF2B5EF4-FFF2-40B4-BE49-F238E27FC236}">
                  <a16:creationId xmlns:a16="http://schemas.microsoft.com/office/drawing/2014/main" id="{96460585-F4C3-4DDC-8A41-58E0A9DCDC45}"/>
                </a:ext>
              </a:extLst>
            </p:cNvPr>
            <p:cNvSpPr/>
            <p:nvPr/>
          </p:nvSpPr>
          <p:spPr bwMode="auto">
            <a:xfrm>
              <a:off x="3053918" y="2223814"/>
              <a:ext cx="627864" cy="627864"/>
            </a:xfrm>
            <a:prstGeom prst="ellipse">
              <a:avLst/>
            </a:prstGeom>
            <a:solidFill>
              <a:srgbClr val="006D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8D60AE60-8DDC-4A53-8FB2-39C886E3AA12}"/>
                </a:ext>
              </a:extLst>
            </p:cNvPr>
            <p:cNvSpPr txBox="1"/>
            <p:nvPr/>
          </p:nvSpPr>
          <p:spPr>
            <a:xfrm>
              <a:off x="2938726" y="2242281"/>
              <a:ext cx="858248"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YES</a:t>
              </a:r>
            </a:p>
          </p:txBody>
        </p:sp>
      </p:grpSp>
      <p:grpSp>
        <p:nvGrpSpPr>
          <p:cNvPr id="18" name="Group 17">
            <a:extLst>
              <a:ext uri="{FF2B5EF4-FFF2-40B4-BE49-F238E27FC236}">
                <a16:creationId xmlns:a16="http://schemas.microsoft.com/office/drawing/2014/main" id="{DDF9FEC8-002C-4F30-A816-BC221F3654F5}"/>
              </a:ext>
            </a:extLst>
          </p:cNvPr>
          <p:cNvGrpSpPr/>
          <p:nvPr/>
        </p:nvGrpSpPr>
        <p:grpSpPr>
          <a:xfrm>
            <a:off x="3204407" y="1380302"/>
            <a:ext cx="781304" cy="657568"/>
            <a:chOff x="2987755" y="2916479"/>
            <a:chExt cx="781304" cy="657568"/>
          </a:xfrm>
        </p:grpSpPr>
        <p:sp>
          <p:nvSpPr>
            <p:cNvPr id="15" name="Oval 14">
              <a:extLst>
                <a:ext uri="{FF2B5EF4-FFF2-40B4-BE49-F238E27FC236}">
                  <a16:creationId xmlns:a16="http://schemas.microsoft.com/office/drawing/2014/main" id="{4C5C69C1-8B17-430A-8FD8-BFDDE1E5C5BA}"/>
                </a:ext>
              </a:extLst>
            </p:cNvPr>
            <p:cNvSpPr/>
            <p:nvPr/>
          </p:nvSpPr>
          <p:spPr bwMode="auto">
            <a:xfrm>
              <a:off x="3053918" y="2916479"/>
              <a:ext cx="627864" cy="627864"/>
            </a:xfrm>
            <a:prstGeom prst="ellipse">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a:extLst>
                <a:ext uri="{FF2B5EF4-FFF2-40B4-BE49-F238E27FC236}">
                  <a16:creationId xmlns:a16="http://schemas.microsoft.com/office/drawing/2014/main" id="{281BB830-6AE0-4956-BF17-AB98ED834EB1}"/>
                </a:ext>
              </a:extLst>
            </p:cNvPr>
            <p:cNvSpPr txBox="1"/>
            <p:nvPr/>
          </p:nvSpPr>
          <p:spPr>
            <a:xfrm>
              <a:off x="2987755" y="2946183"/>
              <a:ext cx="781304"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No</a:t>
              </a:r>
            </a:p>
          </p:txBody>
        </p:sp>
      </p:grpSp>
      <p:grpSp>
        <p:nvGrpSpPr>
          <p:cNvPr id="21" name="Group 20">
            <a:extLst>
              <a:ext uri="{FF2B5EF4-FFF2-40B4-BE49-F238E27FC236}">
                <a16:creationId xmlns:a16="http://schemas.microsoft.com/office/drawing/2014/main" id="{3B0FC57F-51CF-4EDE-9BE2-4A2C2C27D6A3}"/>
              </a:ext>
            </a:extLst>
          </p:cNvPr>
          <p:cNvGrpSpPr/>
          <p:nvPr/>
        </p:nvGrpSpPr>
        <p:grpSpPr>
          <a:xfrm>
            <a:off x="3165935" y="2548314"/>
            <a:ext cx="858248" cy="646331"/>
            <a:chOff x="2938726" y="2223814"/>
            <a:chExt cx="858248" cy="646331"/>
          </a:xfrm>
        </p:grpSpPr>
        <p:sp>
          <p:nvSpPr>
            <p:cNvPr id="22" name="Oval 21">
              <a:extLst>
                <a:ext uri="{FF2B5EF4-FFF2-40B4-BE49-F238E27FC236}">
                  <a16:creationId xmlns:a16="http://schemas.microsoft.com/office/drawing/2014/main" id="{F4B7D8A4-A35F-449F-BE1B-DF164981DDC8}"/>
                </a:ext>
              </a:extLst>
            </p:cNvPr>
            <p:cNvSpPr/>
            <p:nvPr/>
          </p:nvSpPr>
          <p:spPr bwMode="auto">
            <a:xfrm>
              <a:off x="3053918" y="2223814"/>
              <a:ext cx="627864" cy="627864"/>
            </a:xfrm>
            <a:prstGeom prst="ellipse">
              <a:avLst/>
            </a:prstGeom>
            <a:solidFill>
              <a:srgbClr val="006D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AA009B1C-177A-4814-A797-EBFBE1AA6EBA}"/>
                </a:ext>
              </a:extLst>
            </p:cNvPr>
            <p:cNvSpPr txBox="1"/>
            <p:nvPr/>
          </p:nvSpPr>
          <p:spPr>
            <a:xfrm>
              <a:off x="2938726" y="2242281"/>
              <a:ext cx="858248"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YES</a:t>
              </a:r>
            </a:p>
          </p:txBody>
        </p:sp>
      </p:grpSp>
      <p:grpSp>
        <p:nvGrpSpPr>
          <p:cNvPr id="24" name="Group 23">
            <a:extLst>
              <a:ext uri="{FF2B5EF4-FFF2-40B4-BE49-F238E27FC236}">
                <a16:creationId xmlns:a16="http://schemas.microsoft.com/office/drawing/2014/main" id="{8F711528-F384-4044-A3F6-3393EAA9D243}"/>
              </a:ext>
            </a:extLst>
          </p:cNvPr>
          <p:cNvGrpSpPr/>
          <p:nvPr/>
        </p:nvGrpSpPr>
        <p:grpSpPr>
          <a:xfrm>
            <a:off x="8070189" y="2525390"/>
            <a:ext cx="781304" cy="657568"/>
            <a:chOff x="2987755" y="2916479"/>
            <a:chExt cx="781304" cy="657568"/>
          </a:xfrm>
        </p:grpSpPr>
        <p:sp>
          <p:nvSpPr>
            <p:cNvPr id="25" name="Oval 24">
              <a:extLst>
                <a:ext uri="{FF2B5EF4-FFF2-40B4-BE49-F238E27FC236}">
                  <a16:creationId xmlns:a16="http://schemas.microsoft.com/office/drawing/2014/main" id="{4B044162-8237-4C83-B141-EFB40786985E}"/>
                </a:ext>
              </a:extLst>
            </p:cNvPr>
            <p:cNvSpPr/>
            <p:nvPr/>
          </p:nvSpPr>
          <p:spPr bwMode="auto">
            <a:xfrm>
              <a:off x="3053918" y="2916479"/>
              <a:ext cx="627864" cy="627864"/>
            </a:xfrm>
            <a:prstGeom prst="ellipse">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2BE28DEB-A58A-4961-B888-12E7467C5299}"/>
                </a:ext>
              </a:extLst>
            </p:cNvPr>
            <p:cNvSpPr txBox="1"/>
            <p:nvPr/>
          </p:nvSpPr>
          <p:spPr>
            <a:xfrm>
              <a:off x="2987755" y="2946183"/>
              <a:ext cx="781304"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No</a:t>
              </a:r>
            </a:p>
          </p:txBody>
        </p:sp>
      </p:grpSp>
      <p:grpSp>
        <p:nvGrpSpPr>
          <p:cNvPr id="28" name="Group 27">
            <a:extLst>
              <a:ext uri="{FF2B5EF4-FFF2-40B4-BE49-F238E27FC236}">
                <a16:creationId xmlns:a16="http://schemas.microsoft.com/office/drawing/2014/main" id="{DBB95B5A-F36E-4272-BE6C-1DCBA27B4AC2}"/>
              </a:ext>
            </a:extLst>
          </p:cNvPr>
          <p:cNvGrpSpPr/>
          <p:nvPr/>
        </p:nvGrpSpPr>
        <p:grpSpPr>
          <a:xfrm>
            <a:off x="3165935" y="3555355"/>
            <a:ext cx="858248" cy="646331"/>
            <a:chOff x="2938726" y="2223814"/>
            <a:chExt cx="858248" cy="646331"/>
          </a:xfrm>
        </p:grpSpPr>
        <p:sp>
          <p:nvSpPr>
            <p:cNvPr id="29" name="Oval 28">
              <a:extLst>
                <a:ext uri="{FF2B5EF4-FFF2-40B4-BE49-F238E27FC236}">
                  <a16:creationId xmlns:a16="http://schemas.microsoft.com/office/drawing/2014/main" id="{EF67AAE7-149B-4BA5-87AD-AB0A0C6D16BC}"/>
                </a:ext>
              </a:extLst>
            </p:cNvPr>
            <p:cNvSpPr/>
            <p:nvPr/>
          </p:nvSpPr>
          <p:spPr bwMode="auto">
            <a:xfrm>
              <a:off x="3053918" y="2223814"/>
              <a:ext cx="627864" cy="627864"/>
            </a:xfrm>
            <a:prstGeom prst="ellipse">
              <a:avLst/>
            </a:prstGeom>
            <a:solidFill>
              <a:srgbClr val="006D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1A141DF0-680B-4E58-8911-4EB997628BC0}"/>
                </a:ext>
              </a:extLst>
            </p:cNvPr>
            <p:cNvSpPr txBox="1"/>
            <p:nvPr/>
          </p:nvSpPr>
          <p:spPr>
            <a:xfrm>
              <a:off x="2938726" y="2242281"/>
              <a:ext cx="858248"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YES</a:t>
              </a:r>
            </a:p>
          </p:txBody>
        </p:sp>
      </p:grpSp>
      <p:grpSp>
        <p:nvGrpSpPr>
          <p:cNvPr id="31" name="Group 30">
            <a:extLst>
              <a:ext uri="{FF2B5EF4-FFF2-40B4-BE49-F238E27FC236}">
                <a16:creationId xmlns:a16="http://schemas.microsoft.com/office/drawing/2014/main" id="{5E9BB898-BB6F-44B4-B034-5294FE6C9F0A}"/>
              </a:ext>
            </a:extLst>
          </p:cNvPr>
          <p:cNvGrpSpPr/>
          <p:nvPr/>
        </p:nvGrpSpPr>
        <p:grpSpPr>
          <a:xfrm>
            <a:off x="8070189" y="3536938"/>
            <a:ext cx="781304" cy="657568"/>
            <a:chOff x="2987755" y="2916479"/>
            <a:chExt cx="781304" cy="657568"/>
          </a:xfrm>
        </p:grpSpPr>
        <p:sp>
          <p:nvSpPr>
            <p:cNvPr id="32" name="Oval 31">
              <a:extLst>
                <a:ext uri="{FF2B5EF4-FFF2-40B4-BE49-F238E27FC236}">
                  <a16:creationId xmlns:a16="http://schemas.microsoft.com/office/drawing/2014/main" id="{84DEB834-EA94-4663-A293-B30365E6BF22}"/>
                </a:ext>
              </a:extLst>
            </p:cNvPr>
            <p:cNvSpPr/>
            <p:nvPr/>
          </p:nvSpPr>
          <p:spPr bwMode="auto">
            <a:xfrm>
              <a:off x="3053918" y="2916479"/>
              <a:ext cx="627864" cy="627864"/>
            </a:xfrm>
            <a:prstGeom prst="ellipse">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a:extLst>
                <a:ext uri="{FF2B5EF4-FFF2-40B4-BE49-F238E27FC236}">
                  <a16:creationId xmlns:a16="http://schemas.microsoft.com/office/drawing/2014/main" id="{9A617639-6124-4A0E-A23A-4E00F3365CC1}"/>
                </a:ext>
              </a:extLst>
            </p:cNvPr>
            <p:cNvSpPr txBox="1"/>
            <p:nvPr/>
          </p:nvSpPr>
          <p:spPr>
            <a:xfrm>
              <a:off x="2987755" y="2946183"/>
              <a:ext cx="781304"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No</a:t>
              </a:r>
            </a:p>
          </p:txBody>
        </p:sp>
      </p:grpSp>
      <p:grpSp>
        <p:nvGrpSpPr>
          <p:cNvPr id="35" name="Group 34">
            <a:extLst>
              <a:ext uri="{FF2B5EF4-FFF2-40B4-BE49-F238E27FC236}">
                <a16:creationId xmlns:a16="http://schemas.microsoft.com/office/drawing/2014/main" id="{A91A7776-8847-46E5-9F19-4A671B3D6593}"/>
              </a:ext>
            </a:extLst>
          </p:cNvPr>
          <p:cNvGrpSpPr/>
          <p:nvPr/>
        </p:nvGrpSpPr>
        <p:grpSpPr>
          <a:xfrm>
            <a:off x="8021160" y="4647557"/>
            <a:ext cx="858248" cy="646331"/>
            <a:chOff x="2938726" y="2223814"/>
            <a:chExt cx="858248" cy="646331"/>
          </a:xfrm>
        </p:grpSpPr>
        <p:sp>
          <p:nvSpPr>
            <p:cNvPr id="36" name="Oval 35">
              <a:extLst>
                <a:ext uri="{FF2B5EF4-FFF2-40B4-BE49-F238E27FC236}">
                  <a16:creationId xmlns:a16="http://schemas.microsoft.com/office/drawing/2014/main" id="{72DF2184-7DD0-4D8F-8E0D-422C93BE6A71}"/>
                </a:ext>
              </a:extLst>
            </p:cNvPr>
            <p:cNvSpPr/>
            <p:nvPr/>
          </p:nvSpPr>
          <p:spPr bwMode="auto">
            <a:xfrm>
              <a:off x="3053918" y="2223814"/>
              <a:ext cx="627864" cy="627864"/>
            </a:xfrm>
            <a:prstGeom prst="ellipse">
              <a:avLst/>
            </a:prstGeom>
            <a:solidFill>
              <a:srgbClr val="006D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a:extLst>
                <a:ext uri="{FF2B5EF4-FFF2-40B4-BE49-F238E27FC236}">
                  <a16:creationId xmlns:a16="http://schemas.microsoft.com/office/drawing/2014/main" id="{23F76DBA-44DF-4F5D-BFB5-4EE45AD37CD0}"/>
                </a:ext>
              </a:extLst>
            </p:cNvPr>
            <p:cNvSpPr txBox="1"/>
            <p:nvPr/>
          </p:nvSpPr>
          <p:spPr>
            <a:xfrm>
              <a:off x="2938726" y="2242281"/>
              <a:ext cx="858248"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YES</a:t>
              </a:r>
            </a:p>
          </p:txBody>
        </p:sp>
      </p:grpSp>
      <p:grpSp>
        <p:nvGrpSpPr>
          <p:cNvPr id="38" name="Group 37">
            <a:extLst>
              <a:ext uri="{FF2B5EF4-FFF2-40B4-BE49-F238E27FC236}">
                <a16:creationId xmlns:a16="http://schemas.microsoft.com/office/drawing/2014/main" id="{81C6AA82-6D79-430D-83FF-E04600EA1599}"/>
              </a:ext>
            </a:extLst>
          </p:cNvPr>
          <p:cNvGrpSpPr/>
          <p:nvPr/>
        </p:nvGrpSpPr>
        <p:grpSpPr>
          <a:xfrm>
            <a:off x="3204407" y="4637264"/>
            <a:ext cx="781304" cy="657568"/>
            <a:chOff x="2987755" y="2916479"/>
            <a:chExt cx="781304" cy="657568"/>
          </a:xfrm>
        </p:grpSpPr>
        <p:sp>
          <p:nvSpPr>
            <p:cNvPr id="39" name="Oval 38">
              <a:extLst>
                <a:ext uri="{FF2B5EF4-FFF2-40B4-BE49-F238E27FC236}">
                  <a16:creationId xmlns:a16="http://schemas.microsoft.com/office/drawing/2014/main" id="{326EF08B-81A3-4746-BAA3-B9C298E0236F}"/>
                </a:ext>
              </a:extLst>
            </p:cNvPr>
            <p:cNvSpPr/>
            <p:nvPr/>
          </p:nvSpPr>
          <p:spPr bwMode="auto">
            <a:xfrm>
              <a:off x="3053918" y="2916479"/>
              <a:ext cx="627864" cy="627864"/>
            </a:xfrm>
            <a:prstGeom prst="ellipse">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a:extLst>
                <a:ext uri="{FF2B5EF4-FFF2-40B4-BE49-F238E27FC236}">
                  <a16:creationId xmlns:a16="http://schemas.microsoft.com/office/drawing/2014/main" id="{F0FDE175-0FB8-46EB-A33A-4DCAEFDF5F49}"/>
                </a:ext>
              </a:extLst>
            </p:cNvPr>
            <p:cNvSpPr txBox="1"/>
            <p:nvPr/>
          </p:nvSpPr>
          <p:spPr>
            <a:xfrm>
              <a:off x="2987755" y="2946183"/>
              <a:ext cx="781304"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No</a:t>
              </a:r>
            </a:p>
          </p:txBody>
        </p:sp>
      </p:grpSp>
      <p:sp>
        <p:nvSpPr>
          <p:cNvPr id="42" name="TextBox 41">
            <a:extLst>
              <a:ext uri="{FF2B5EF4-FFF2-40B4-BE49-F238E27FC236}">
                <a16:creationId xmlns:a16="http://schemas.microsoft.com/office/drawing/2014/main" id="{3E7A92CD-F27F-4884-AA18-0D7F667CB789}"/>
              </a:ext>
            </a:extLst>
          </p:cNvPr>
          <p:cNvSpPr txBox="1"/>
          <p:nvPr/>
        </p:nvSpPr>
        <p:spPr>
          <a:xfrm>
            <a:off x="427980" y="722298"/>
            <a:ext cx="1088695" cy="332399"/>
          </a:xfrm>
          <a:prstGeom prst="rect">
            <a:avLst/>
          </a:prstGeom>
          <a:noFill/>
        </p:spPr>
        <p:txBody>
          <a:bodyPr wrap="square" lIns="0" tIns="0" rIns="0" bIns="0" rtlCol="0">
            <a:spAutoFit/>
          </a:bodyPr>
          <a:lstStyle/>
          <a:p>
            <a:pPr marL="0" marR="0" lvl="0" indent="0" algn="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Azure Synapse Analytics </a:t>
            </a:r>
          </a:p>
        </p:txBody>
      </p:sp>
      <p:sp>
        <p:nvSpPr>
          <p:cNvPr id="43" name="TextBox 42">
            <a:extLst>
              <a:ext uri="{FF2B5EF4-FFF2-40B4-BE49-F238E27FC236}">
                <a16:creationId xmlns:a16="http://schemas.microsoft.com/office/drawing/2014/main" id="{5D893EAB-5FF3-4457-AD91-92F0C2AA6FCB}"/>
              </a:ext>
            </a:extLst>
          </p:cNvPr>
          <p:cNvSpPr txBox="1"/>
          <p:nvPr/>
        </p:nvSpPr>
        <p:spPr>
          <a:xfrm>
            <a:off x="10050116" y="780023"/>
            <a:ext cx="1464929" cy="166199"/>
          </a:xfrm>
          <a:prstGeom prst="rect">
            <a:avLst/>
          </a:prstGeom>
          <a:noFill/>
        </p:spPr>
        <p:txBody>
          <a:bodyPr wrap="square" lIns="0" tIns="0" rIns="0" bIns="0" rtlCol="0">
            <a:spAutoFit/>
          </a:bodyPr>
          <a:lstStyle>
            <a:defPPr>
              <a:defRPr lang="en-US"/>
            </a:defPPr>
            <a:lvl1pPr marR="0" lvl="0" indent="0" algn="r" defTabSz="914367" fontAlgn="auto">
              <a:lnSpc>
                <a:spcPct val="90000"/>
              </a:lnSpc>
              <a:spcBef>
                <a:spcPts val="0"/>
              </a:spcBef>
              <a:spcAft>
                <a:spcPts val="0"/>
              </a:spcAft>
              <a:buClrTx/>
              <a:buSzTx/>
              <a:buFontTx/>
              <a:buNone/>
              <a:tabLst/>
              <a:defRPr kumimoji="0" sz="1200" b="0" i="0" u="none" strike="noStrike" cap="none" spc="0" normalizeH="0" baseline="0">
                <a:ln>
                  <a:noFill/>
                </a:ln>
                <a:solidFill>
                  <a:srgbClr val="000000"/>
                </a:solidFill>
                <a:effectLst/>
                <a:uLnTx/>
                <a:uFillTx/>
                <a:latin typeface="Segoe UI Semibold"/>
              </a:defRPr>
            </a:lvl1pPr>
          </a:lstStyle>
          <a:p>
            <a:pPr algn="l"/>
            <a:r>
              <a:rPr lang="en-US"/>
              <a:t>Power BI Premium</a:t>
            </a:r>
          </a:p>
        </p:txBody>
      </p:sp>
      <p:cxnSp>
        <p:nvCxnSpPr>
          <p:cNvPr id="45" name="Connector: Elbow 44">
            <a:extLst>
              <a:ext uri="{FF2B5EF4-FFF2-40B4-BE49-F238E27FC236}">
                <a16:creationId xmlns:a16="http://schemas.microsoft.com/office/drawing/2014/main" id="{61D77301-58A5-4B31-B8F2-865F6C613615}"/>
              </a:ext>
            </a:extLst>
          </p:cNvPr>
          <p:cNvCxnSpPr>
            <a:cxnSpLocks/>
            <a:endCxn id="47" idx="2"/>
          </p:cNvCxnSpPr>
          <p:nvPr/>
        </p:nvCxnSpPr>
        <p:spPr>
          <a:xfrm flipV="1">
            <a:off x="8889965" y="1223483"/>
            <a:ext cx="799617" cy="493139"/>
          </a:xfrm>
          <a:prstGeom prst="bentConnector2">
            <a:avLst/>
          </a:prstGeom>
          <a:ln>
            <a:solidFill>
              <a:schemeClr val="bg2">
                <a:lumMod val="65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DA4DF7B0-E1A1-4937-A753-A8B5B46012A3}"/>
              </a:ext>
            </a:extLst>
          </p:cNvPr>
          <p:cNvCxnSpPr>
            <a:cxnSpLocks/>
          </p:cNvCxnSpPr>
          <p:nvPr/>
        </p:nvCxnSpPr>
        <p:spPr>
          <a:xfrm flipV="1">
            <a:off x="8851493" y="1565653"/>
            <a:ext cx="832996" cy="1303373"/>
          </a:xfrm>
          <a:prstGeom prst="bentConnector2">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ECA21EB-EE6B-49F4-9645-5BF5FCCF589D}"/>
              </a:ext>
            </a:extLst>
          </p:cNvPr>
          <p:cNvCxnSpPr>
            <a:cxnSpLocks/>
          </p:cNvCxnSpPr>
          <p:nvPr/>
        </p:nvCxnSpPr>
        <p:spPr>
          <a:xfrm flipV="1">
            <a:off x="8851493" y="2777327"/>
            <a:ext cx="832995" cy="1103247"/>
          </a:xfrm>
          <a:prstGeom prst="bentConnector2">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A609DCC-8463-4AA1-B8C5-FA79BA575184}"/>
              </a:ext>
            </a:extLst>
          </p:cNvPr>
          <p:cNvCxnSpPr>
            <a:cxnSpLocks/>
          </p:cNvCxnSpPr>
          <p:nvPr/>
        </p:nvCxnSpPr>
        <p:spPr>
          <a:xfrm flipV="1">
            <a:off x="8879408" y="3776003"/>
            <a:ext cx="805080" cy="1203953"/>
          </a:xfrm>
          <a:prstGeom prst="bentConnector2">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C9F9343B-52DB-4706-99C3-F876C2DB2F45}"/>
              </a:ext>
            </a:extLst>
          </p:cNvPr>
          <p:cNvCxnSpPr>
            <a:cxnSpLocks/>
            <a:endCxn id="10" idx="2"/>
          </p:cNvCxnSpPr>
          <p:nvPr/>
        </p:nvCxnSpPr>
        <p:spPr>
          <a:xfrm rot="10800000">
            <a:off x="1938583" y="1223484"/>
            <a:ext cx="1265825" cy="500455"/>
          </a:xfrm>
          <a:prstGeom prst="bentConnector2">
            <a:avLst/>
          </a:prstGeom>
          <a:ln>
            <a:solidFill>
              <a:schemeClr val="bg2">
                <a:lumMod val="65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F17DCC48-4A69-4F87-B2A8-5ACF43E72BA3}"/>
              </a:ext>
            </a:extLst>
          </p:cNvPr>
          <p:cNvCxnSpPr>
            <a:cxnSpLocks/>
          </p:cNvCxnSpPr>
          <p:nvPr/>
        </p:nvCxnSpPr>
        <p:spPr>
          <a:xfrm rot="10800000">
            <a:off x="1943925" y="1735131"/>
            <a:ext cx="1222010" cy="1145583"/>
          </a:xfrm>
          <a:prstGeom prst="bentConnector3">
            <a:avLst>
              <a:gd name="adj1" fmla="val 100854"/>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E6AFA72-5D1D-46BD-ACC7-B1EC58B91459}"/>
              </a:ext>
            </a:extLst>
          </p:cNvPr>
          <p:cNvCxnSpPr>
            <a:cxnSpLocks/>
          </p:cNvCxnSpPr>
          <p:nvPr/>
        </p:nvCxnSpPr>
        <p:spPr>
          <a:xfrm rot="10800000">
            <a:off x="1924457" y="2721394"/>
            <a:ext cx="1241479" cy="1166361"/>
          </a:xfrm>
          <a:prstGeom prst="bentConnector3">
            <a:avLst>
              <a:gd name="adj1" fmla="val 98626"/>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FED8305D-75E8-4312-8943-79D8190A767E}"/>
              </a:ext>
            </a:extLst>
          </p:cNvPr>
          <p:cNvCxnSpPr>
            <a:cxnSpLocks/>
          </p:cNvCxnSpPr>
          <p:nvPr/>
        </p:nvCxnSpPr>
        <p:spPr>
          <a:xfrm rot="10800000">
            <a:off x="1913899" y="3821162"/>
            <a:ext cx="1241479" cy="1166361"/>
          </a:xfrm>
          <a:prstGeom prst="bentConnector3">
            <a:avLst>
              <a:gd name="adj1" fmla="val 98626"/>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E4D716D-AC09-4D30-A542-DA7AC016BAE2}"/>
              </a:ext>
            </a:extLst>
          </p:cNvPr>
          <p:cNvCxnSpPr>
            <a:cxnSpLocks/>
          </p:cNvCxnSpPr>
          <p:nvPr/>
        </p:nvCxnSpPr>
        <p:spPr>
          <a:xfrm flipV="1">
            <a:off x="3985711" y="1716622"/>
            <a:ext cx="4046006" cy="7316"/>
          </a:xfrm>
          <a:prstGeom prst="line">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A7FC389-3492-4200-BAE7-B339EFED3E8D}"/>
              </a:ext>
            </a:extLst>
          </p:cNvPr>
          <p:cNvCxnSpPr>
            <a:cxnSpLocks/>
          </p:cNvCxnSpPr>
          <p:nvPr/>
        </p:nvCxnSpPr>
        <p:spPr>
          <a:xfrm flipV="1">
            <a:off x="4024183" y="2869026"/>
            <a:ext cx="4046006" cy="11687"/>
          </a:xfrm>
          <a:prstGeom prst="line">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4670AB8F-3CA6-4F20-A0EE-328570933631}"/>
              </a:ext>
            </a:extLst>
          </p:cNvPr>
          <p:cNvSpPr txBox="1"/>
          <p:nvPr/>
        </p:nvSpPr>
        <p:spPr>
          <a:xfrm>
            <a:off x="4463330" y="1366468"/>
            <a:ext cx="2902996" cy="646331"/>
          </a:xfrm>
          <a:prstGeom prst="rect">
            <a:avLst/>
          </a:prstGeom>
          <a:solidFill>
            <a:schemeClr val="bg1"/>
          </a:solidFill>
        </p:spPr>
        <p:txBody>
          <a:bodyPr wrap="square">
            <a:spAutoFit/>
          </a:bodyPr>
          <a:lstStyle/>
          <a:p>
            <a:pPr algn="ctr"/>
            <a:r>
              <a:rPr lang="en-US" sz="1800">
                <a:gradFill>
                  <a:gsLst>
                    <a:gs pos="2917">
                      <a:schemeClr val="tx1"/>
                    </a:gs>
                    <a:gs pos="30000">
                      <a:schemeClr val="tx1"/>
                    </a:gs>
                  </a:gsLst>
                  <a:lin ang="5400000" scaled="0"/>
                </a:gradFill>
              </a:rPr>
              <a:t>Your organization allow to extract data to 3</a:t>
            </a:r>
            <a:r>
              <a:rPr lang="en-US" sz="1800" baseline="30000">
                <a:gradFill>
                  <a:gsLst>
                    <a:gs pos="2917">
                      <a:schemeClr val="tx1"/>
                    </a:gs>
                    <a:gs pos="30000">
                      <a:schemeClr val="tx1"/>
                    </a:gs>
                  </a:gsLst>
                  <a:lin ang="5400000" scaled="0"/>
                </a:gradFill>
              </a:rPr>
              <a:t>rd</a:t>
            </a:r>
            <a:r>
              <a:rPr lang="en-US" sz="1800">
                <a:gradFill>
                  <a:gsLst>
                    <a:gs pos="2917">
                      <a:schemeClr val="tx1"/>
                    </a:gs>
                    <a:gs pos="30000">
                      <a:schemeClr val="tx1"/>
                    </a:gs>
                  </a:gsLst>
                  <a:lin ang="5400000" scaled="0"/>
                </a:gradFill>
              </a:rPr>
              <a:t> party?</a:t>
            </a:r>
            <a:endParaRPr lang="en-US"/>
          </a:p>
        </p:txBody>
      </p:sp>
      <p:sp>
        <p:nvSpPr>
          <p:cNvPr id="80" name="TextBox 79">
            <a:extLst>
              <a:ext uri="{FF2B5EF4-FFF2-40B4-BE49-F238E27FC236}">
                <a16:creationId xmlns:a16="http://schemas.microsoft.com/office/drawing/2014/main" id="{E3F17C9C-3E81-4376-9EB6-C5CCCD053D35}"/>
              </a:ext>
            </a:extLst>
          </p:cNvPr>
          <p:cNvSpPr txBox="1"/>
          <p:nvPr/>
        </p:nvSpPr>
        <p:spPr>
          <a:xfrm>
            <a:off x="4463330" y="2455997"/>
            <a:ext cx="2989080" cy="646331"/>
          </a:xfrm>
          <a:prstGeom prst="rect">
            <a:avLst/>
          </a:prstGeom>
          <a:solidFill>
            <a:schemeClr val="bg1"/>
          </a:solidFill>
        </p:spPr>
        <p:txBody>
          <a:bodyPr wrap="square">
            <a:spAutoFit/>
          </a:bodyPr>
          <a:lstStyle/>
          <a:p>
            <a:pPr algn="ctr"/>
            <a:r>
              <a:rPr lang="en-US" sz="1800">
                <a:gradFill>
                  <a:gsLst>
                    <a:gs pos="2917">
                      <a:schemeClr val="tx1"/>
                    </a:gs>
                    <a:gs pos="30000">
                      <a:schemeClr val="tx1"/>
                    </a:gs>
                  </a:gsLst>
                  <a:lin ang="5400000" scaled="0"/>
                </a:gradFill>
              </a:rPr>
              <a:t>Are you certain that queries will hit Result-set cache?</a:t>
            </a:r>
            <a:endParaRPr lang="en-US"/>
          </a:p>
        </p:txBody>
      </p:sp>
      <p:cxnSp>
        <p:nvCxnSpPr>
          <p:cNvPr id="81" name="Straight Connector 80">
            <a:extLst>
              <a:ext uri="{FF2B5EF4-FFF2-40B4-BE49-F238E27FC236}">
                <a16:creationId xmlns:a16="http://schemas.microsoft.com/office/drawing/2014/main" id="{911395F3-7442-468B-A5FB-CD4765707B03}"/>
              </a:ext>
            </a:extLst>
          </p:cNvPr>
          <p:cNvCxnSpPr>
            <a:cxnSpLocks/>
          </p:cNvCxnSpPr>
          <p:nvPr/>
        </p:nvCxnSpPr>
        <p:spPr>
          <a:xfrm flipV="1">
            <a:off x="4024183" y="3880574"/>
            <a:ext cx="4046006" cy="7180"/>
          </a:xfrm>
          <a:prstGeom prst="line">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DD6D702D-6470-4AB2-A874-F5802831F28A}"/>
              </a:ext>
            </a:extLst>
          </p:cNvPr>
          <p:cNvSpPr txBox="1"/>
          <p:nvPr/>
        </p:nvSpPr>
        <p:spPr>
          <a:xfrm>
            <a:off x="4450633" y="3681714"/>
            <a:ext cx="2989080" cy="646331"/>
          </a:xfrm>
          <a:prstGeom prst="rect">
            <a:avLst/>
          </a:prstGeom>
          <a:solidFill>
            <a:schemeClr val="bg1"/>
          </a:solidFill>
        </p:spPr>
        <p:txBody>
          <a:bodyPr wrap="square">
            <a:spAutoFit/>
          </a:bodyPr>
          <a:lstStyle/>
          <a:p>
            <a:pPr algn="ctr"/>
            <a:r>
              <a:rPr lang="en-US" sz="1800">
                <a:gradFill>
                  <a:gsLst>
                    <a:gs pos="2917">
                      <a:schemeClr val="tx1"/>
                    </a:gs>
                    <a:gs pos="30000">
                      <a:schemeClr val="tx1"/>
                    </a:gs>
                  </a:gsLst>
                  <a:lin ang="5400000" scaled="0"/>
                </a:gradFill>
              </a:rPr>
              <a:t>Do you have complex ETL/aggregations?</a:t>
            </a:r>
            <a:endParaRPr lang="en-US"/>
          </a:p>
        </p:txBody>
      </p:sp>
      <p:cxnSp>
        <p:nvCxnSpPr>
          <p:cNvPr id="85" name="Straight Connector 84">
            <a:extLst>
              <a:ext uri="{FF2B5EF4-FFF2-40B4-BE49-F238E27FC236}">
                <a16:creationId xmlns:a16="http://schemas.microsoft.com/office/drawing/2014/main" id="{C987A8E2-73EB-4846-8781-401332F19AB4}"/>
              </a:ext>
            </a:extLst>
          </p:cNvPr>
          <p:cNvCxnSpPr>
            <a:cxnSpLocks/>
          </p:cNvCxnSpPr>
          <p:nvPr/>
        </p:nvCxnSpPr>
        <p:spPr>
          <a:xfrm flipV="1">
            <a:off x="3985711" y="4979956"/>
            <a:ext cx="4035449" cy="944"/>
          </a:xfrm>
          <a:prstGeom prst="line">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DAA6A19C-FF70-4F38-92EB-26EDF775ADAA}"/>
              </a:ext>
            </a:extLst>
          </p:cNvPr>
          <p:cNvSpPr txBox="1"/>
          <p:nvPr/>
        </p:nvSpPr>
        <p:spPr>
          <a:xfrm>
            <a:off x="4365991" y="4656790"/>
            <a:ext cx="2989080" cy="646331"/>
          </a:xfrm>
          <a:prstGeom prst="rect">
            <a:avLst/>
          </a:prstGeom>
          <a:solidFill>
            <a:schemeClr val="bg1"/>
          </a:solidFill>
        </p:spPr>
        <p:txBody>
          <a:bodyPr wrap="square">
            <a:spAutoFit/>
          </a:bodyPr>
          <a:lstStyle/>
          <a:p>
            <a:pPr algn="ctr"/>
            <a:r>
              <a:rPr lang="en-US" sz="1800">
                <a:gradFill>
                  <a:gsLst>
                    <a:gs pos="2917">
                      <a:schemeClr val="tx1"/>
                    </a:gs>
                    <a:gs pos="30000">
                      <a:schemeClr val="tx1"/>
                    </a:gs>
                  </a:gsLst>
                  <a:lin ang="5400000" scaled="0"/>
                </a:gradFill>
              </a:rPr>
              <a:t>Do you want to leverage DAX functionality ?</a:t>
            </a:r>
            <a:endParaRPr lang="en-US"/>
          </a:p>
        </p:txBody>
      </p:sp>
      <p:cxnSp>
        <p:nvCxnSpPr>
          <p:cNvPr id="59" name="Connector: Elbow 58">
            <a:extLst>
              <a:ext uri="{FF2B5EF4-FFF2-40B4-BE49-F238E27FC236}">
                <a16:creationId xmlns:a16="http://schemas.microsoft.com/office/drawing/2014/main" id="{61A59EF7-9270-40B2-9711-47110DA60AD0}"/>
              </a:ext>
            </a:extLst>
          </p:cNvPr>
          <p:cNvCxnSpPr>
            <a:cxnSpLocks/>
          </p:cNvCxnSpPr>
          <p:nvPr/>
        </p:nvCxnSpPr>
        <p:spPr>
          <a:xfrm flipV="1">
            <a:off x="8879408" y="4881297"/>
            <a:ext cx="805080" cy="1203953"/>
          </a:xfrm>
          <a:prstGeom prst="bentConnector2">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A4EE2265-2F7E-4005-90C9-F35B5380F7FF}"/>
              </a:ext>
            </a:extLst>
          </p:cNvPr>
          <p:cNvCxnSpPr>
            <a:cxnSpLocks/>
          </p:cNvCxnSpPr>
          <p:nvPr/>
        </p:nvCxnSpPr>
        <p:spPr>
          <a:xfrm rot="10800000">
            <a:off x="1913899" y="4926456"/>
            <a:ext cx="1241479" cy="1166361"/>
          </a:xfrm>
          <a:prstGeom prst="bentConnector3">
            <a:avLst>
              <a:gd name="adj1" fmla="val 98626"/>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E2A4D85-B4AF-4143-AC66-31393C647C6E}"/>
              </a:ext>
            </a:extLst>
          </p:cNvPr>
          <p:cNvCxnSpPr>
            <a:cxnSpLocks/>
          </p:cNvCxnSpPr>
          <p:nvPr/>
        </p:nvCxnSpPr>
        <p:spPr>
          <a:xfrm flipV="1">
            <a:off x="3985711" y="6085250"/>
            <a:ext cx="4035449" cy="944"/>
          </a:xfrm>
          <a:prstGeom prst="line">
            <a:avLst/>
          </a:prstGeom>
          <a:ln>
            <a:solidFill>
              <a:schemeClr val="bg2">
                <a:lumMod val="6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11E6A76-802C-479D-B4B4-284D15E45CD8}"/>
              </a:ext>
            </a:extLst>
          </p:cNvPr>
          <p:cNvSpPr txBox="1"/>
          <p:nvPr/>
        </p:nvSpPr>
        <p:spPr>
          <a:xfrm>
            <a:off x="4377246" y="5705923"/>
            <a:ext cx="2989080" cy="646331"/>
          </a:xfrm>
          <a:prstGeom prst="rect">
            <a:avLst/>
          </a:prstGeom>
          <a:solidFill>
            <a:schemeClr val="bg1"/>
          </a:solidFill>
        </p:spPr>
        <p:txBody>
          <a:bodyPr wrap="square">
            <a:spAutoFit/>
          </a:bodyPr>
          <a:lstStyle/>
          <a:p>
            <a:pPr algn="ctr"/>
            <a:r>
              <a:rPr lang="en-US" sz="1800">
                <a:gradFill>
                  <a:gsLst>
                    <a:gs pos="2917">
                      <a:schemeClr val="tx1"/>
                    </a:gs>
                    <a:gs pos="30000">
                      <a:schemeClr val="tx1"/>
                    </a:gs>
                  </a:gsLst>
                  <a:lin ang="5400000" scaled="0"/>
                </a:gradFill>
              </a:rPr>
              <a:t>Do you need near real-time data (</a:t>
            </a:r>
            <a:r>
              <a:rPr lang="en-US" sz="1800" err="1">
                <a:gradFill>
                  <a:gsLst>
                    <a:gs pos="2917">
                      <a:schemeClr val="tx1"/>
                    </a:gs>
                    <a:gs pos="30000">
                      <a:schemeClr val="tx1"/>
                    </a:gs>
                  </a:gsLst>
                  <a:lin ang="5400000" scaled="0"/>
                </a:gradFill>
              </a:rPr>
              <a:t>DirectQuery</a:t>
            </a:r>
            <a:r>
              <a:rPr lang="en-US" sz="1800">
                <a:gradFill>
                  <a:gsLst>
                    <a:gs pos="2917">
                      <a:schemeClr val="tx1"/>
                    </a:gs>
                    <a:gs pos="30000">
                      <a:schemeClr val="tx1"/>
                    </a:gs>
                  </a:gsLst>
                  <a:lin ang="5400000" scaled="0"/>
                </a:gradFill>
              </a:rPr>
              <a:t>)?</a:t>
            </a:r>
            <a:endParaRPr lang="en-US"/>
          </a:p>
        </p:txBody>
      </p:sp>
      <p:grpSp>
        <p:nvGrpSpPr>
          <p:cNvPr id="65" name="Group 64">
            <a:extLst>
              <a:ext uri="{FF2B5EF4-FFF2-40B4-BE49-F238E27FC236}">
                <a16:creationId xmlns:a16="http://schemas.microsoft.com/office/drawing/2014/main" id="{03F96F91-E035-41E5-979E-D825C7A0FB86}"/>
              </a:ext>
            </a:extLst>
          </p:cNvPr>
          <p:cNvGrpSpPr/>
          <p:nvPr/>
        </p:nvGrpSpPr>
        <p:grpSpPr>
          <a:xfrm>
            <a:off x="3111267" y="5762084"/>
            <a:ext cx="858248" cy="646331"/>
            <a:chOff x="2938726" y="2223814"/>
            <a:chExt cx="858248" cy="646331"/>
          </a:xfrm>
        </p:grpSpPr>
        <p:sp>
          <p:nvSpPr>
            <p:cNvPr id="66" name="Oval 65">
              <a:extLst>
                <a:ext uri="{FF2B5EF4-FFF2-40B4-BE49-F238E27FC236}">
                  <a16:creationId xmlns:a16="http://schemas.microsoft.com/office/drawing/2014/main" id="{F1F58650-E61B-4873-988C-2C6977F2E447}"/>
                </a:ext>
              </a:extLst>
            </p:cNvPr>
            <p:cNvSpPr/>
            <p:nvPr/>
          </p:nvSpPr>
          <p:spPr bwMode="auto">
            <a:xfrm>
              <a:off x="3053918" y="2223814"/>
              <a:ext cx="627864" cy="627864"/>
            </a:xfrm>
            <a:prstGeom prst="ellipse">
              <a:avLst/>
            </a:prstGeom>
            <a:solidFill>
              <a:srgbClr val="006D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7" name="TextBox 66">
              <a:extLst>
                <a:ext uri="{FF2B5EF4-FFF2-40B4-BE49-F238E27FC236}">
                  <a16:creationId xmlns:a16="http://schemas.microsoft.com/office/drawing/2014/main" id="{A1A76B01-4B26-4CA8-9CC3-DE1F36C681AA}"/>
                </a:ext>
              </a:extLst>
            </p:cNvPr>
            <p:cNvSpPr txBox="1"/>
            <p:nvPr/>
          </p:nvSpPr>
          <p:spPr>
            <a:xfrm>
              <a:off x="2938726" y="2242281"/>
              <a:ext cx="858248"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YES</a:t>
              </a:r>
            </a:p>
          </p:txBody>
        </p:sp>
      </p:grpSp>
      <p:grpSp>
        <p:nvGrpSpPr>
          <p:cNvPr id="69" name="Group 68">
            <a:extLst>
              <a:ext uri="{FF2B5EF4-FFF2-40B4-BE49-F238E27FC236}">
                <a16:creationId xmlns:a16="http://schemas.microsoft.com/office/drawing/2014/main" id="{142D1BDC-8BEA-4B06-82D3-F3B8CA93D79D}"/>
              </a:ext>
            </a:extLst>
          </p:cNvPr>
          <p:cNvGrpSpPr/>
          <p:nvPr/>
        </p:nvGrpSpPr>
        <p:grpSpPr>
          <a:xfrm>
            <a:off x="8059632" y="5767295"/>
            <a:ext cx="781304" cy="657568"/>
            <a:chOff x="2987755" y="2916479"/>
            <a:chExt cx="781304" cy="657568"/>
          </a:xfrm>
        </p:grpSpPr>
        <p:sp>
          <p:nvSpPr>
            <p:cNvPr id="70" name="Oval 69">
              <a:extLst>
                <a:ext uri="{FF2B5EF4-FFF2-40B4-BE49-F238E27FC236}">
                  <a16:creationId xmlns:a16="http://schemas.microsoft.com/office/drawing/2014/main" id="{027CDB30-07E1-4625-A84B-B575884D6708}"/>
                </a:ext>
              </a:extLst>
            </p:cNvPr>
            <p:cNvSpPr/>
            <p:nvPr/>
          </p:nvSpPr>
          <p:spPr bwMode="auto">
            <a:xfrm>
              <a:off x="3053918" y="2916479"/>
              <a:ext cx="627864" cy="627864"/>
            </a:xfrm>
            <a:prstGeom prst="ellipse">
              <a:avLst/>
            </a:prstGeom>
            <a:solidFill>
              <a:srgbClr val="CC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a:extLst>
                <a:ext uri="{FF2B5EF4-FFF2-40B4-BE49-F238E27FC236}">
                  <a16:creationId xmlns:a16="http://schemas.microsoft.com/office/drawing/2014/main" id="{1079D5DC-B3E1-4E48-90DF-82D4B225EED8}"/>
                </a:ext>
              </a:extLst>
            </p:cNvPr>
            <p:cNvSpPr txBox="1"/>
            <p:nvPr/>
          </p:nvSpPr>
          <p:spPr>
            <a:xfrm>
              <a:off x="2987755" y="2946183"/>
              <a:ext cx="781304"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No</a:t>
              </a:r>
            </a:p>
          </p:txBody>
        </p:sp>
      </p:grpSp>
    </p:spTree>
    <p:extLst>
      <p:ext uri="{BB962C8B-B14F-4D97-AF65-F5344CB8AC3E}">
        <p14:creationId xmlns:p14="http://schemas.microsoft.com/office/powerpoint/2010/main" val="212292356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Diagram, schematic&#10;&#10;Description automatically generated">
            <a:extLst>
              <a:ext uri="{FF2B5EF4-FFF2-40B4-BE49-F238E27FC236}">
                <a16:creationId xmlns:a16="http://schemas.microsoft.com/office/drawing/2014/main" id="{D1EE4C6A-13AF-48B5-8867-8A293DF64F12}"/>
              </a:ext>
            </a:extLst>
          </p:cNvPr>
          <p:cNvPicPr>
            <a:picLocks noChangeAspect="1"/>
          </p:cNvPicPr>
          <p:nvPr/>
        </p:nvPicPr>
        <p:blipFill>
          <a:blip r:embed="rId2"/>
          <a:stretch>
            <a:fillRect/>
          </a:stretch>
        </p:blipFill>
        <p:spPr>
          <a:xfrm>
            <a:off x="3081419" y="4154106"/>
            <a:ext cx="5919829" cy="1938743"/>
          </a:xfrm>
          <a:prstGeom prst="rect">
            <a:avLst/>
          </a:prstGeom>
          <a:noFill/>
        </p:spPr>
      </p:pic>
      <p:sp>
        <p:nvSpPr>
          <p:cNvPr id="2" name="Title 1">
            <a:extLst>
              <a:ext uri="{FF2B5EF4-FFF2-40B4-BE49-F238E27FC236}">
                <a16:creationId xmlns:a16="http://schemas.microsoft.com/office/drawing/2014/main" id="{97DBDC07-7F6D-4ADD-8C5A-0FC2D8B6FAE9}"/>
              </a:ext>
            </a:extLst>
          </p:cNvPr>
          <p:cNvSpPr>
            <a:spLocks noGrp="1"/>
          </p:cNvSpPr>
          <p:nvPr>
            <p:ph type="title"/>
          </p:nvPr>
        </p:nvSpPr>
        <p:spPr>
          <a:xfrm>
            <a:off x="426426" y="254471"/>
            <a:ext cx="5555966" cy="758022"/>
          </a:xfrm>
        </p:spPr>
        <p:txBody>
          <a:bodyPr wrap="square" anchor="t">
            <a:normAutofit/>
          </a:bodyPr>
          <a:lstStyle/>
          <a:p>
            <a:r>
              <a:rPr lang="en-US"/>
              <a:t>Reference Architecture</a:t>
            </a:r>
          </a:p>
        </p:txBody>
      </p:sp>
      <p:sp>
        <p:nvSpPr>
          <p:cNvPr id="57" name="TextBox 56">
            <a:extLst>
              <a:ext uri="{FF2B5EF4-FFF2-40B4-BE49-F238E27FC236}">
                <a16:creationId xmlns:a16="http://schemas.microsoft.com/office/drawing/2014/main" id="{359F8217-4EBF-4546-8BA7-65B243E3E68B}"/>
              </a:ext>
            </a:extLst>
          </p:cNvPr>
          <p:cNvSpPr txBox="1"/>
          <p:nvPr/>
        </p:nvSpPr>
        <p:spPr>
          <a:xfrm>
            <a:off x="394044" y="1088192"/>
            <a:ext cx="11403910" cy="2031325"/>
          </a:xfrm>
          <a:prstGeom prst="rect">
            <a:avLst/>
          </a:prstGeom>
          <a:noFill/>
        </p:spPr>
        <p:txBody>
          <a:bodyPr wrap="square">
            <a:spAutoFit/>
          </a:bodyPr>
          <a:lstStyle/>
          <a:p>
            <a:pPr marL="285750" indent="-285750">
              <a:buFont typeface="Arial" panose="020B0604020202020204" pitchFamily="34" charset="0"/>
              <a:buChar char="•"/>
            </a:pPr>
            <a:r>
              <a:rPr lang="en-US" dirty="0">
                <a:hlinkClick r:id="rId3"/>
              </a:rPr>
              <a:t>BI solution architecture in the Center of Excellence - Power BI | Microsoft Docs</a:t>
            </a:r>
            <a:endParaRPr lang="en-US" dirty="0"/>
          </a:p>
          <a:p>
            <a:pPr marL="285750" indent="-285750">
              <a:buFont typeface="Arial" panose="020B0604020202020204" pitchFamily="34" charset="0"/>
              <a:buChar char="•"/>
            </a:pPr>
            <a:r>
              <a:rPr lang="en-US" dirty="0">
                <a:hlinkClick r:id="rId4"/>
              </a:rPr>
              <a:t>Enterprise business intelligence - Azure Reference Architectures | Microsoft Docs</a:t>
            </a:r>
            <a:endParaRPr lang="en-US" dirty="0"/>
          </a:p>
          <a:p>
            <a:pPr marL="285750" indent="-285750">
              <a:buFont typeface="Arial" panose="020B0604020202020204" pitchFamily="34" charset="0"/>
              <a:buChar char="•"/>
            </a:pPr>
            <a:r>
              <a:rPr lang="en-US" dirty="0" err="1">
                <a:hlinkClick r:id="rId5"/>
              </a:rPr>
              <a:t>mspnp</a:t>
            </a:r>
            <a:r>
              <a:rPr lang="en-US" dirty="0">
                <a:hlinkClick r:id="rId5"/>
              </a:rPr>
              <a:t>/azure-</a:t>
            </a:r>
            <a:r>
              <a:rPr lang="en-US" dirty="0" err="1">
                <a:hlinkClick r:id="rId5"/>
              </a:rPr>
              <a:t>sqldw</a:t>
            </a:r>
            <a:r>
              <a:rPr lang="en-US" dirty="0">
                <a:hlinkClick r:id="rId5"/>
              </a:rPr>
              <a:t>-enterprise-bi (github.com)</a:t>
            </a:r>
            <a:endParaRPr lang="en-US" dirty="0"/>
          </a:p>
          <a:p>
            <a:pPr marL="285750" indent="-285750">
              <a:buFont typeface="Arial" panose="020B0604020202020204" pitchFamily="34" charset="0"/>
              <a:buChar char="•"/>
            </a:pPr>
            <a:r>
              <a:rPr lang="en-US" dirty="0">
                <a:hlinkClick r:id="rId6"/>
              </a:rPr>
              <a:t>What is dedicated SQL pool (formerly SQL DW)? - Azure Synapse Analytics | Microsoft Docs</a:t>
            </a:r>
            <a:endParaRPr lang="en-US" dirty="0"/>
          </a:p>
          <a:p>
            <a:pPr marL="285750" indent="-285750">
              <a:buFont typeface="Arial" panose="020B0604020202020204" pitchFamily="34" charset="0"/>
              <a:buChar char="•"/>
            </a:pPr>
            <a:r>
              <a:rPr lang="en-US" dirty="0">
                <a:hlinkClick r:id="rId7"/>
              </a:rPr>
              <a:t>Azure Synapse Analytics &amp; Power BI concurrency | James Serra's Blog</a:t>
            </a:r>
            <a:endParaRPr lang="en-US" dirty="0">
              <a:hlinkClick r:id="rId7"/>
            </a:endParaRPr>
          </a:p>
          <a:p>
            <a:pPr marL="285750" indent="-285750">
              <a:buFont typeface="Arial" panose="020B0604020202020204" pitchFamily="34" charset="0"/>
              <a:buChar char="•"/>
            </a:pPr>
            <a:r>
              <a:rPr lang="en-US" dirty="0">
                <a:hlinkClick r:id="rId8"/>
              </a:rPr>
              <a:t>Large datasets in Power BI Premium - Power BI | Microsoft Docs</a:t>
            </a:r>
            <a:endParaRPr lang="en-US" dirty="0"/>
          </a:p>
          <a:p>
            <a:pPr marL="285750" indent="-285750">
              <a:buFont typeface="Arial" panose="020B0604020202020204" pitchFamily="34" charset="0"/>
              <a:buChar char="•"/>
            </a:pPr>
            <a:r>
              <a:rPr lang="en-US" dirty="0">
                <a:hlinkClick r:id="rId9"/>
              </a:rPr>
              <a:t>Azure SQL Data Warehouse with </a:t>
            </a:r>
            <a:r>
              <a:rPr lang="en-US" dirty="0" err="1">
                <a:hlinkClick r:id="rId9"/>
              </a:rPr>
              <a:t>DirectQuery</a:t>
            </a:r>
            <a:r>
              <a:rPr lang="en-US" dirty="0">
                <a:hlinkClick r:id="rId9"/>
              </a:rPr>
              <a:t> - Power BI | Microsoft Docs</a:t>
            </a:r>
            <a:endParaRPr lang="en-US" dirty="0"/>
          </a:p>
        </p:txBody>
      </p:sp>
    </p:spTree>
    <p:extLst>
      <p:ext uri="{BB962C8B-B14F-4D97-AF65-F5344CB8AC3E}">
        <p14:creationId xmlns:p14="http://schemas.microsoft.com/office/powerpoint/2010/main" val="23558113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D99C0-1A24-4F67-B0B8-E4BDA5725DE6}"/>
              </a:ext>
            </a:extLst>
          </p:cNvPr>
          <p:cNvSpPr>
            <a:spLocks noGrp="1"/>
          </p:cNvSpPr>
          <p:nvPr>
            <p:ph type="title" idx="4294967295"/>
          </p:nvPr>
        </p:nvSpPr>
        <p:spPr>
          <a:xfrm>
            <a:off x="604299" y="3055938"/>
            <a:ext cx="5294313" cy="552450"/>
          </a:xfrm>
        </p:spPr>
        <p:txBody>
          <a:bodyPr/>
          <a:lstStyle/>
          <a:p>
            <a:r>
              <a:rPr lang="en-US" dirty="0">
                <a:cs typeface="Segoe UI"/>
              </a:rPr>
              <a:t>Thank you</a:t>
            </a:r>
            <a:endParaRPr lang="en-US" dirty="0"/>
          </a:p>
        </p:txBody>
      </p:sp>
    </p:spTree>
    <p:custDataLst>
      <p:tags r:id="rId1"/>
    </p:custDataLst>
    <p:extLst>
      <p:ext uri="{BB962C8B-B14F-4D97-AF65-F5344CB8AC3E}">
        <p14:creationId xmlns:p14="http://schemas.microsoft.com/office/powerpoint/2010/main" val="22993934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B3B1CD52-F5F3-4278-ACF6-00EDFDE86A26}"/>
              </a:ext>
            </a:extLst>
          </p:cNvPr>
          <p:cNvSpPr/>
          <p:nvPr/>
        </p:nvSpPr>
        <p:spPr>
          <a:xfrm>
            <a:off x="3108823" y="1928338"/>
            <a:ext cx="4479097" cy="3086100"/>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Ingest &amp; Store</a:t>
            </a:r>
            <a:endParaRPr lang="en-US" sz="786" b="1">
              <a:solidFill>
                <a:srgbClr val="ABABAB">
                  <a:lumMod val="25000"/>
                </a:srgbClr>
              </a:solidFill>
              <a:latin typeface="Arial" pitchFamily="34" charset="0"/>
              <a:cs typeface="Arial" pitchFamily="34" charset="0"/>
            </a:endParaRPr>
          </a:p>
        </p:txBody>
      </p:sp>
      <p:sp>
        <p:nvSpPr>
          <p:cNvPr id="97" name="Rectangle 96">
            <a:extLst>
              <a:ext uri="{FF2B5EF4-FFF2-40B4-BE49-F238E27FC236}">
                <a16:creationId xmlns:a16="http://schemas.microsoft.com/office/drawing/2014/main" id="{2DD626FE-3025-4EFB-BCD3-678394F6747E}"/>
              </a:ext>
            </a:extLst>
          </p:cNvPr>
          <p:cNvSpPr/>
          <p:nvPr/>
        </p:nvSpPr>
        <p:spPr>
          <a:xfrm>
            <a:off x="5276069" y="2094211"/>
            <a:ext cx="2241354" cy="2895776"/>
          </a:xfrm>
          <a:prstGeom prst="rect">
            <a:avLst/>
          </a:prstGeom>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ZA" sz="643" b="1">
                <a:solidFill>
                  <a:srgbClr val="ABABAB">
                    <a:lumMod val="25000"/>
                  </a:srgbClr>
                </a:solidFill>
                <a:latin typeface="Arial" pitchFamily="34" charset="0"/>
                <a:cs typeface="Arial" pitchFamily="34" charset="0"/>
              </a:rPr>
              <a:t>Presentation</a:t>
            </a:r>
          </a:p>
        </p:txBody>
      </p:sp>
      <p:sp>
        <p:nvSpPr>
          <p:cNvPr id="133" name="Rectangle 132">
            <a:extLst>
              <a:ext uri="{FF2B5EF4-FFF2-40B4-BE49-F238E27FC236}">
                <a16:creationId xmlns:a16="http://schemas.microsoft.com/office/drawing/2014/main" id="{180DAB10-5451-4974-9C3C-170144B9DA3D}"/>
              </a:ext>
            </a:extLst>
          </p:cNvPr>
          <p:cNvSpPr/>
          <p:nvPr/>
        </p:nvSpPr>
        <p:spPr>
          <a:xfrm>
            <a:off x="5380708" y="2267837"/>
            <a:ext cx="2102429" cy="1158442"/>
          </a:xfrm>
          <a:prstGeom prst="rect">
            <a:avLst/>
          </a:prstGeom>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ZA" sz="643" b="1">
                <a:solidFill>
                  <a:srgbClr val="ABABAB">
                    <a:lumMod val="25000"/>
                  </a:srgbClr>
                </a:solidFill>
                <a:latin typeface="Arial" pitchFamily="34" charset="0"/>
                <a:cs typeface="Arial" pitchFamily="34" charset="0"/>
              </a:rPr>
              <a:t>Data Warehouse</a:t>
            </a:r>
          </a:p>
        </p:txBody>
      </p:sp>
      <p:sp>
        <p:nvSpPr>
          <p:cNvPr id="2" name="Title 1">
            <a:extLst>
              <a:ext uri="{FF2B5EF4-FFF2-40B4-BE49-F238E27FC236}">
                <a16:creationId xmlns:a16="http://schemas.microsoft.com/office/drawing/2014/main" id="{9F124A9A-D23B-4E41-B6F5-03A6059C9C2E}"/>
              </a:ext>
            </a:extLst>
          </p:cNvPr>
          <p:cNvSpPr>
            <a:spLocks noGrp="1"/>
          </p:cNvSpPr>
          <p:nvPr>
            <p:ph type="title"/>
          </p:nvPr>
        </p:nvSpPr>
        <p:spPr>
          <a:xfrm>
            <a:off x="418846" y="216313"/>
            <a:ext cx="11044800" cy="720000"/>
          </a:xfrm>
        </p:spPr>
        <p:txBody>
          <a:bodyPr>
            <a:normAutofit/>
          </a:bodyPr>
          <a:lstStyle/>
          <a:p>
            <a:r>
              <a:rPr lang="en-ZA" sz="2800">
                <a:latin typeface="Segoe UI Semibold" panose="020B0702040204020203" pitchFamily="34" charset="0"/>
                <a:cs typeface="Segoe UI Semibold" panose="020B0702040204020203" pitchFamily="34" charset="0"/>
              </a:rPr>
              <a:t>Modern Data Warehouse Generic Pattern</a:t>
            </a:r>
          </a:p>
        </p:txBody>
      </p:sp>
      <p:sp>
        <p:nvSpPr>
          <p:cNvPr id="37" name="Rectangle 36">
            <a:extLst>
              <a:ext uri="{FF2B5EF4-FFF2-40B4-BE49-F238E27FC236}">
                <a16:creationId xmlns:a16="http://schemas.microsoft.com/office/drawing/2014/main" id="{FDEEBD1B-969A-4488-B4E5-A312D9027D45}"/>
              </a:ext>
            </a:extLst>
          </p:cNvPr>
          <p:cNvSpPr/>
          <p:nvPr/>
        </p:nvSpPr>
        <p:spPr>
          <a:xfrm>
            <a:off x="1587163" y="1935431"/>
            <a:ext cx="776524" cy="2282159"/>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Source </a:t>
            </a:r>
          </a:p>
          <a:p>
            <a:pPr algn="ctr" defTabSz="914418"/>
            <a:r>
              <a:rPr lang="en-AU" sz="786" b="1">
                <a:solidFill>
                  <a:srgbClr val="ABABAB">
                    <a:lumMod val="25000"/>
                  </a:srgbClr>
                </a:solidFill>
                <a:latin typeface="Arial" pitchFamily="34" charset="0"/>
                <a:cs typeface="Arial" pitchFamily="34" charset="0"/>
              </a:rPr>
              <a:t>(On Premise)</a:t>
            </a:r>
            <a:endParaRPr lang="en-US" sz="786" b="1">
              <a:solidFill>
                <a:srgbClr val="ABABAB">
                  <a:lumMod val="25000"/>
                </a:srgbClr>
              </a:solidFill>
              <a:latin typeface="Arial" pitchFamily="34" charset="0"/>
              <a:cs typeface="Arial" pitchFamily="34" charset="0"/>
            </a:endParaRPr>
          </a:p>
        </p:txBody>
      </p:sp>
      <p:sp>
        <p:nvSpPr>
          <p:cNvPr id="39" name="Rectangle 38">
            <a:extLst>
              <a:ext uri="{FF2B5EF4-FFF2-40B4-BE49-F238E27FC236}">
                <a16:creationId xmlns:a16="http://schemas.microsoft.com/office/drawing/2014/main" id="{A3ACB0B7-974A-4C40-B534-8059F3BA51C2}"/>
              </a:ext>
            </a:extLst>
          </p:cNvPr>
          <p:cNvSpPr/>
          <p:nvPr/>
        </p:nvSpPr>
        <p:spPr>
          <a:xfrm>
            <a:off x="7630784" y="1928725"/>
            <a:ext cx="589093" cy="1017270"/>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endParaRPr lang="en-US" sz="786" b="1">
              <a:solidFill>
                <a:srgbClr val="ABABAB">
                  <a:lumMod val="25000"/>
                </a:srgbClr>
              </a:solidFill>
              <a:latin typeface="Arial" pitchFamily="34" charset="0"/>
              <a:cs typeface="Arial" pitchFamily="34" charset="0"/>
            </a:endParaRPr>
          </a:p>
        </p:txBody>
      </p:sp>
      <p:sp>
        <p:nvSpPr>
          <p:cNvPr id="47" name="Rectangle 46">
            <a:extLst>
              <a:ext uri="{FF2B5EF4-FFF2-40B4-BE49-F238E27FC236}">
                <a16:creationId xmlns:a16="http://schemas.microsoft.com/office/drawing/2014/main" id="{C738D220-6AD9-4BC5-B28B-22EC05FC0156}"/>
              </a:ext>
            </a:extLst>
          </p:cNvPr>
          <p:cNvSpPr/>
          <p:nvPr/>
        </p:nvSpPr>
        <p:spPr>
          <a:xfrm>
            <a:off x="7630782" y="2978026"/>
            <a:ext cx="589094" cy="1009089"/>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endParaRPr lang="en-US" sz="786" b="1">
              <a:solidFill>
                <a:srgbClr val="ABABAB">
                  <a:lumMod val="25000"/>
                </a:srgbClr>
              </a:solidFill>
              <a:latin typeface="Arial" pitchFamily="34" charset="0"/>
              <a:cs typeface="Arial" pitchFamily="34" charset="0"/>
            </a:endParaRPr>
          </a:p>
        </p:txBody>
      </p:sp>
      <p:sp>
        <p:nvSpPr>
          <p:cNvPr id="49" name="Rectangle 48">
            <a:extLst>
              <a:ext uri="{FF2B5EF4-FFF2-40B4-BE49-F238E27FC236}">
                <a16:creationId xmlns:a16="http://schemas.microsoft.com/office/drawing/2014/main" id="{71C74340-CC5B-4E4A-AF45-7976E1F502E7}"/>
              </a:ext>
            </a:extLst>
          </p:cNvPr>
          <p:cNvSpPr/>
          <p:nvPr/>
        </p:nvSpPr>
        <p:spPr>
          <a:xfrm>
            <a:off x="7630782" y="4019146"/>
            <a:ext cx="589094" cy="1008481"/>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endParaRPr lang="en-US" sz="786" b="1">
              <a:solidFill>
                <a:srgbClr val="ABABAB">
                  <a:lumMod val="25000"/>
                </a:srgbClr>
              </a:solidFill>
              <a:latin typeface="Arial" pitchFamily="34" charset="0"/>
              <a:cs typeface="Arial" pitchFamily="34" charset="0"/>
            </a:endParaRPr>
          </a:p>
        </p:txBody>
      </p:sp>
      <p:sp>
        <p:nvSpPr>
          <p:cNvPr id="52" name="Rectangle 51">
            <a:extLst>
              <a:ext uri="{FF2B5EF4-FFF2-40B4-BE49-F238E27FC236}">
                <a16:creationId xmlns:a16="http://schemas.microsoft.com/office/drawing/2014/main" id="{40623BE2-7827-4D77-8BC0-E1222AF0A417}"/>
              </a:ext>
            </a:extLst>
          </p:cNvPr>
          <p:cNvSpPr/>
          <p:nvPr/>
        </p:nvSpPr>
        <p:spPr>
          <a:xfrm>
            <a:off x="8294738" y="1935431"/>
            <a:ext cx="1262449" cy="3086100"/>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Serving/ Consumption Layer</a:t>
            </a:r>
            <a:endParaRPr lang="en-US" sz="786" b="1">
              <a:solidFill>
                <a:srgbClr val="ABABAB">
                  <a:lumMod val="25000"/>
                </a:srgbClr>
              </a:solidFill>
              <a:latin typeface="Arial" pitchFamily="34" charset="0"/>
              <a:cs typeface="Arial" pitchFamily="34" charset="0"/>
            </a:endParaRPr>
          </a:p>
        </p:txBody>
      </p:sp>
      <p:sp>
        <p:nvSpPr>
          <p:cNvPr id="53" name="Rectangle 52">
            <a:extLst>
              <a:ext uri="{FF2B5EF4-FFF2-40B4-BE49-F238E27FC236}">
                <a16:creationId xmlns:a16="http://schemas.microsoft.com/office/drawing/2014/main" id="{DED02ED4-3814-4218-B700-9D58C2876F6C}"/>
              </a:ext>
            </a:extLst>
          </p:cNvPr>
          <p:cNvSpPr/>
          <p:nvPr/>
        </p:nvSpPr>
        <p:spPr>
          <a:xfrm>
            <a:off x="9642912" y="1941526"/>
            <a:ext cx="913771" cy="3086100"/>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Clients</a:t>
            </a:r>
            <a:endParaRPr lang="en-US" sz="786" b="1">
              <a:solidFill>
                <a:srgbClr val="ABABAB">
                  <a:lumMod val="25000"/>
                </a:srgbClr>
              </a:solidFill>
              <a:latin typeface="Arial" pitchFamily="34" charset="0"/>
              <a:cs typeface="Arial" pitchFamily="34" charset="0"/>
            </a:endParaRPr>
          </a:p>
        </p:txBody>
      </p:sp>
      <p:sp>
        <p:nvSpPr>
          <p:cNvPr id="64" name="Rectangle 63">
            <a:extLst>
              <a:ext uri="{FF2B5EF4-FFF2-40B4-BE49-F238E27FC236}">
                <a16:creationId xmlns:a16="http://schemas.microsoft.com/office/drawing/2014/main" id="{83B3C9BF-B608-4329-B8C1-89D81908AA35}"/>
              </a:ext>
            </a:extLst>
          </p:cNvPr>
          <p:cNvSpPr/>
          <p:nvPr/>
        </p:nvSpPr>
        <p:spPr>
          <a:xfrm>
            <a:off x="2716121" y="1958078"/>
            <a:ext cx="226935" cy="2259512"/>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endParaRPr lang="en-US" sz="786" b="1">
              <a:solidFill>
                <a:srgbClr val="ABABAB">
                  <a:lumMod val="25000"/>
                </a:srgbClr>
              </a:solidFill>
              <a:latin typeface="Arial" pitchFamily="34" charset="0"/>
              <a:cs typeface="Arial" pitchFamily="34" charset="0"/>
            </a:endParaRPr>
          </a:p>
        </p:txBody>
      </p:sp>
      <p:sp>
        <p:nvSpPr>
          <p:cNvPr id="67" name="Rectangle 66">
            <a:extLst>
              <a:ext uri="{FF2B5EF4-FFF2-40B4-BE49-F238E27FC236}">
                <a16:creationId xmlns:a16="http://schemas.microsoft.com/office/drawing/2014/main" id="{1D19468F-3F94-4569-9414-D803D87DEC93}"/>
              </a:ext>
            </a:extLst>
          </p:cNvPr>
          <p:cNvSpPr/>
          <p:nvPr/>
        </p:nvSpPr>
        <p:spPr>
          <a:xfrm>
            <a:off x="3090702" y="5079564"/>
            <a:ext cx="7465981" cy="499311"/>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Governance and Operations</a:t>
            </a:r>
            <a:endParaRPr lang="en-US" sz="786" b="1">
              <a:solidFill>
                <a:srgbClr val="ABABAB">
                  <a:lumMod val="25000"/>
                </a:srgbClr>
              </a:solidFill>
              <a:latin typeface="Arial" pitchFamily="34" charset="0"/>
              <a:cs typeface="Arial" pitchFamily="34" charset="0"/>
            </a:endParaRPr>
          </a:p>
        </p:txBody>
      </p:sp>
      <p:sp>
        <p:nvSpPr>
          <p:cNvPr id="73" name="Rectangle 72">
            <a:extLst>
              <a:ext uri="{FF2B5EF4-FFF2-40B4-BE49-F238E27FC236}">
                <a16:creationId xmlns:a16="http://schemas.microsoft.com/office/drawing/2014/main" id="{2EDE07E7-A883-43B3-B1FA-220FCF9DA58E}"/>
              </a:ext>
            </a:extLst>
          </p:cNvPr>
          <p:cNvSpPr/>
          <p:nvPr/>
        </p:nvSpPr>
        <p:spPr>
          <a:xfrm>
            <a:off x="1587162" y="4283916"/>
            <a:ext cx="777178" cy="744709"/>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Source (Cloud)</a:t>
            </a:r>
            <a:endParaRPr lang="en-US" sz="786" b="1">
              <a:solidFill>
                <a:srgbClr val="ABABAB">
                  <a:lumMod val="25000"/>
                </a:srgbClr>
              </a:solidFill>
              <a:latin typeface="Arial" pitchFamily="34" charset="0"/>
              <a:cs typeface="Arial" pitchFamily="34" charset="0"/>
            </a:endParaRPr>
          </a:p>
        </p:txBody>
      </p:sp>
      <p:sp>
        <p:nvSpPr>
          <p:cNvPr id="74" name="Rectangle 73">
            <a:extLst>
              <a:ext uri="{FF2B5EF4-FFF2-40B4-BE49-F238E27FC236}">
                <a16:creationId xmlns:a16="http://schemas.microsoft.com/office/drawing/2014/main" id="{B7B68BC9-9085-431C-8AB3-4B7A9FE30D7A}"/>
              </a:ext>
            </a:extLst>
          </p:cNvPr>
          <p:cNvSpPr/>
          <p:nvPr/>
        </p:nvSpPr>
        <p:spPr>
          <a:xfrm>
            <a:off x="3157037" y="2101992"/>
            <a:ext cx="655001" cy="2882494"/>
          </a:xfrm>
          <a:prstGeom prst="rect">
            <a:avLst/>
          </a:prstGeom>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ZA" sz="643" b="1">
                <a:solidFill>
                  <a:srgbClr val="ABABAB">
                    <a:lumMod val="25000"/>
                  </a:srgbClr>
                </a:solidFill>
                <a:latin typeface="Arial" pitchFamily="34" charset="0"/>
                <a:cs typeface="Arial" pitchFamily="34" charset="0"/>
              </a:rPr>
              <a:t>Ingestion</a:t>
            </a:r>
          </a:p>
        </p:txBody>
      </p:sp>
      <p:pic>
        <p:nvPicPr>
          <p:cNvPr id="77" name="Graphic 76" descr="Wi-Fi">
            <a:extLst>
              <a:ext uri="{FF2B5EF4-FFF2-40B4-BE49-F238E27FC236}">
                <a16:creationId xmlns:a16="http://schemas.microsoft.com/office/drawing/2014/main" id="{AC178C05-3E51-4B67-86EF-A33BD77549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04041" y="2267837"/>
            <a:ext cx="344137" cy="344137"/>
          </a:xfrm>
          <a:prstGeom prst="rect">
            <a:avLst/>
          </a:prstGeom>
        </p:spPr>
      </p:pic>
      <p:sp>
        <p:nvSpPr>
          <p:cNvPr id="78" name="TextBox 77">
            <a:extLst>
              <a:ext uri="{FF2B5EF4-FFF2-40B4-BE49-F238E27FC236}">
                <a16:creationId xmlns:a16="http://schemas.microsoft.com/office/drawing/2014/main" id="{D47CC1CC-4BD2-4E47-94BD-5903D249D43B}"/>
              </a:ext>
            </a:extLst>
          </p:cNvPr>
          <p:cNvSpPr txBox="1"/>
          <p:nvPr/>
        </p:nvSpPr>
        <p:spPr>
          <a:xfrm>
            <a:off x="1525811" y="2546680"/>
            <a:ext cx="890036" cy="180178"/>
          </a:xfrm>
          <a:prstGeom prst="rect">
            <a:avLst/>
          </a:prstGeom>
          <a:noFill/>
        </p:spPr>
        <p:txBody>
          <a:bodyPr wrap="square" rtlCol="0">
            <a:spAutoFit/>
          </a:bodyPr>
          <a:lstStyle/>
          <a:p>
            <a:pPr algn="ctr" defTabSz="914418"/>
            <a:r>
              <a:rPr lang="en-ZA" sz="571">
                <a:solidFill>
                  <a:srgbClr val="FFFFFF">
                    <a:lumMod val="50000"/>
                  </a:srgbClr>
                </a:solidFill>
                <a:latin typeface="Segoe UI Semilight"/>
              </a:rPr>
              <a:t>Streaming Data</a:t>
            </a:r>
          </a:p>
        </p:txBody>
      </p:sp>
      <p:pic>
        <p:nvPicPr>
          <p:cNvPr id="79" name="Graphic 78" descr="Database">
            <a:extLst>
              <a:ext uri="{FF2B5EF4-FFF2-40B4-BE49-F238E27FC236}">
                <a16:creationId xmlns:a16="http://schemas.microsoft.com/office/drawing/2014/main" id="{FB6D242B-1B68-4AA7-A3BE-2CB13A47B4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47512" y="2763506"/>
            <a:ext cx="300666" cy="300666"/>
          </a:xfrm>
          <a:prstGeom prst="rect">
            <a:avLst/>
          </a:prstGeom>
        </p:spPr>
      </p:pic>
      <p:sp>
        <p:nvSpPr>
          <p:cNvPr id="80" name="TextBox 79">
            <a:extLst>
              <a:ext uri="{FF2B5EF4-FFF2-40B4-BE49-F238E27FC236}">
                <a16:creationId xmlns:a16="http://schemas.microsoft.com/office/drawing/2014/main" id="{1848C1AF-765A-4868-B337-AC9E2F49C494}"/>
              </a:ext>
            </a:extLst>
          </p:cNvPr>
          <p:cNvSpPr txBox="1"/>
          <p:nvPr/>
        </p:nvSpPr>
        <p:spPr>
          <a:xfrm>
            <a:off x="1525811" y="3047732"/>
            <a:ext cx="890036" cy="180178"/>
          </a:xfrm>
          <a:prstGeom prst="rect">
            <a:avLst/>
          </a:prstGeom>
          <a:noFill/>
        </p:spPr>
        <p:txBody>
          <a:bodyPr wrap="square" rtlCol="0">
            <a:spAutoFit/>
          </a:bodyPr>
          <a:lstStyle/>
          <a:p>
            <a:pPr algn="ctr" defTabSz="914418"/>
            <a:r>
              <a:rPr lang="en-ZA" sz="571">
                <a:solidFill>
                  <a:srgbClr val="FFFFFF">
                    <a:lumMod val="50000"/>
                  </a:srgbClr>
                </a:solidFill>
                <a:latin typeface="Segoe UI Semilight"/>
              </a:rPr>
              <a:t>Structured Data</a:t>
            </a:r>
          </a:p>
        </p:txBody>
      </p:sp>
      <p:pic>
        <p:nvPicPr>
          <p:cNvPr id="81" name="Graphic 80" descr="Satellite">
            <a:extLst>
              <a:ext uri="{FF2B5EF4-FFF2-40B4-BE49-F238E27FC236}">
                <a16:creationId xmlns:a16="http://schemas.microsoft.com/office/drawing/2014/main" id="{0D8570BA-70A7-423A-80C8-FEFFC1DE054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62977" y="3267948"/>
            <a:ext cx="275291" cy="275291"/>
          </a:xfrm>
          <a:prstGeom prst="rect">
            <a:avLst/>
          </a:prstGeom>
        </p:spPr>
      </p:pic>
      <p:sp>
        <p:nvSpPr>
          <p:cNvPr id="82" name="TextBox 81">
            <a:extLst>
              <a:ext uri="{FF2B5EF4-FFF2-40B4-BE49-F238E27FC236}">
                <a16:creationId xmlns:a16="http://schemas.microsoft.com/office/drawing/2014/main" id="{0BB69D39-5954-4376-A315-1C2DD13E0ABF}"/>
              </a:ext>
            </a:extLst>
          </p:cNvPr>
          <p:cNvSpPr txBox="1"/>
          <p:nvPr/>
        </p:nvSpPr>
        <p:spPr>
          <a:xfrm>
            <a:off x="1525811" y="3543446"/>
            <a:ext cx="878644" cy="180178"/>
          </a:xfrm>
          <a:prstGeom prst="rect">
            <a:avLst/>
          </a:prstGeom>
          <a:noFill/>
        </p:spPr>
        <p:txBody>
          <a:bodyPr wrap="square" rtlCol="0">
            <a:spAutoFit/>
          </a:bodyPr>
          <a:lstStyle/>
          <a:p>
            <a:pPr algn="ctr" defTabSz="914418"/>
            <a:r>
              <a:rPr lang="en-ZA" sz="571">
                <a:solidFill>
                  <a:srgbClr val="FFFFFF">
                    <a:lumMod val="50000"/>
                  </a:srgbClr>
                </a:solidFill>
                <a:latin typeface="Segoe UI Semilight"/>
              </a:rPr>
              <a:t>Spatial Data</a:t>
            </a:r>
          </a:p>
        </p:txBody>
      </p:sp>
      <p:pic>
        <p:nvPicPr>
          <p:cNvPr id="83" name="Graphic 82" descr="Document">
            <a:extLst>
              <a:ext uri="{FF2B5EF4-FFF2-40B4-BE49-F238E27FC236}">
                <a16:creationId xmlns:a16="http://schemas.microsoft.com/office/drawing/2014/main" id="{7D13525A-64ED-468A-B0BB-39EF80FC9EE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2609" y="3773582"/>
            <a:ext cx="250471" cy="250471"/>
          </a:xfrm>
          <a:prstGeom prst="rect">
            <a:avLst/>
          </a:prstGeom>
        </p:spPr>
      </p:pic>
      <p:sp>
        <p:nvSpPr>
          <p:cNvPr id="84" name="TextBox 83">
            <a:extLst>
              <a:ext uri="{FF2B5EF4-FFF2-40B4-BE49-F238E27FC236}">
                <a16:creationId xmlns:a16="http://schemas.microsoft.com/office/drawing/2014/main" id="{D43F2EFC-E98E-4A30-8CE4-5CE2ED3A118E}"/>
              </a:ext>
            </a:extLst>
          </p:cNvPr>
          <p:cNvSpPr txBox="1"/>
          <p:nvPr/>
        </p:nvSpPr>
        <p:spPr>
          <a:xfrm>
            <a:off x="1519789" y="4033416"/>
            <a:ext cx="896058" cy="180178"/>
          </a:xfrm>
          <a:prstGeom prst="rect">
            <a:avLst/>
          </a:prstGeom>
          <a:noFill/>
        </p:spPr>
        <p:txBody>
          <a:bodyPr wrap="square" rtlCol="0">
            <a:spAutoFit/>
          </a:bodyPr>
          <a:lstStyle/>
          <a:p>
            <a:pPr algn="ctr" defTabSz="914418"/>
            <a:r>
              <a:rPr lang="en-ZA" sz="571">
                <a:solidFill>
                  <a:srgbClr val="FFFFFF">
                    <a:lumMod val="50000"/>
                  </a:srgbClr>
                </a:solidFill>
                <a:latin typeface="Segoe UI Semilight"/>
              </a:rPr>
              <a:t>Unstructured Data</a:t>
            </a:r>
          </a:p>
        </p:txBody>
      </p:sp>
      <p:sp>
        <p:nvSpPr>
          <p:cNvPr id="85" name="TextBox 84">
            <a:extLst>
              <a:ext uri="{FF2B5EF4-FFF2-40B4-BE49-F238E27FC236}">
                <a16:creationId xmlns:a16="http://schemas.microsoft.com/office/drawing/2014/main" id="{36882754-5085-43C4-B75E-8168A26263DC}"/>
              </a:ext>
            </a:extLst>
          </p:cNvPr>
          <p:cNvSpPr txBox="1"/>
          <p:nvPr/>
        </p:nvSpPr>
        <p:spPr>
          <a:xfrm>
            <a:off x="1323102" y="4871136"/>
            <a:ext cx="890036" cy="180178"/>
          </a:xfrm>
          <a:prstGeom prst="rect">
            <a:avLst/>
          </a:prstGeom>
          <a:noFill/>
        </p:spPr>
        <p:txBody>
          <a:bodyPr wrap="square" rtlCol="0">
            <a:spAutoFit/>
          </a:bodyPr>
          <a:lstStyle/>
          <a:p>
            <a:pPr algn="ctr" defTabSz="914418"/>
            <a:r>
              <a:rPr lang="en-ZA" sz="571">
                <a:solidFill>
                  <a:srgbClr val="FFFFFF">
                    <a:lumMod val="50000"/>
                  </a:srgbClr>
                </a:solidFill>
                <a:latin typeface="Segoe UI Semilight"/>
              </a:rPr>
              <a:t>SaaS</a:t>
            </a:r>
          </a:p>
        </p:txBody>
      </p:sp>
      <p:pic>
        <p:nvPicPr>
          <p:cNvPr id="86" name="Graphic 85" descr="Atom">
            <a:extLst>
              <a:ext uri="{FF2B5EF4-FFF2-40B4-BE49-F238E27FC236}">
                <a16:creationId xmlns:a16="http://schemas.microsoft.com/office/drawing/2014/main" id="{1B3E4951-6F1C-4D00-A8EC-295238BD81D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26662" y="4574542"/>
            <a:ext cx="252438" cy="252438"/>
          </a:xfrm>
          <a:prstGeom prst="rect">
            <a:avLst/>
          </a:prstGeom>
        </p:spPr>
      </p:pic>
      <p:sp>
        <p:nvSpPr>
          <p:cNvPr id="87" name="TextBox 86">
            <a:extLst>
              <a:ext uri="{FF2B5EF4-FFF2-40B4-BE49-F238E27FC236}">
                <a16:creationId xmlns:a16="http://schemas.microsoft.com/office/drawing/2014/main" id="{0660136D-F376-49A3-9E41-147A6447AC0F}"/>
              </a:ext>
            </a:extLst>
          </p:cNvPr>
          <p:cNvSpPr txBox="1"/>
          <p:nvPr/>
        </p:nvSpPr>
        <p:spPr>
          <a:xfrm>
            <a:off x="1695947" y="4862182"/>
            <a:ext cx="890036" cy="180178"/>
          </a:xfrm>
          <a:prstGeom prst="rect">
            <a:avLst/>
          </a:prstGeom>
          <a:noFill/>
        </p:spPr>
        <p:txBody>
          <a:bodyPr wrap="square" rtlCol="0">
            <a:spAutoFit/>
          </a:bodyPr>
          <a:lstStyle/>
          <a:p>
            <a:pPr algn="ctr" defTabSz="914418"/>
            <a:r>
              <a:rPr lang="en-ZA" sz="571">
                <a:solidFill>
                  <a:srgbClr val="FFFFFF">
                    <a:lumMod val="50000"/>
                  </a:srgbClr>
                </a:solidFill>
                <a:latin typeface="Segoe UI Semilight"/>
              </a:rPr>
              <a:t>Web</a:t>
            </a:r>
          </a:p>
        </p:txBody>
      </p:sp>
      <p:pic>
        <p:nvPicPr>
          <p:cNvPr id="88" name="Graphic 87" descr="Cloud">
            <a:extLst>
              <a:ext uri="{FF2B5EF4-FFF2-40B4-BE49-F238E27FC236}">
                <a16:creationId xmlns:a16="http://schemas.microsoft.com/office/drawing/2014/main" id="{8C9A9F08-3472-4473-A0B3-28BEA092DCE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04835" y="4533531"/>
            <a:ext cx="326571" cy="326571"/>
          </a:xfrm>
          <a:prstGeom prst="rect">
            <a:avLst/>
          </a:prstGeom>
        </p:spPr>
      </p:pic>
      <p:sp>
        <p:nvSpPr>
          <p:cNvPr id="89" name="Rectangle 88">
            <a:extLst>
              <a:ext uri="{FF2B5EF4-FFF2-40B4-BE49-F238E27FC236}">
                <a16:creationId xmlns:a16="http://schemas.microsoft.com/office/drawing/2014/main" id="{C692ABC3-746C-4A79-B5E8-03DB1CBD0A07}"/>
              </a:ext>
            </a:extLst>
          </p:cNvPr>
          <p:cNvSpPr/>
          <p:nvPr/>
        </p:nvSpPr>
        <p:spPr>
          <a:xfrm>
            <a:off x="2712084" y="4276822"/>
            <a:ext cx="225994" cy="750804"/>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endParaRPr lang="en-US" sz="786" b="1">
              <a:solidFill>
                <a:srgbClr val="ABABAB">
                  <a:lumMod val="25000"/>
                </a:srgbClr>
              </a:solidFill>
              <a:latin typeface="Arial" pitchFamily="34" charset="0"/>
              <a:cs typeface="Arial" pitchFamily="34" charset="0"/>
            </a:endParaRPr>
          </a:p>
        </p:txBody>
      </p:sp>
      <p:sp>
        <p:nvSpPr>
          <p:cNvPr id="91" name="Rectangle 90">
            <a:extLst>
              <a:ext uri="{FF2B5EF4-FFF2-40B4-BE49-F238E27FC236}">
                <a16:creationId xmlns:a16="http://schemas.microsoft.com/office/drawing/2014/main" id="{38B0C4B2-E713-4EDD-A27B-8B53432A455B}"/>
              </a:ext>
            </a:extLst>
          </p:cNvPr>
          <p:cNvSpPr/>
          <p:nvPr/>
        </p:nvSpPr>
        <p:spPr>
          <a:xfrm>
            <a:off x="2620965" y="1391898"/>
            <a:ext cx="7935718" cy="486999"/>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Data Platform Management</a:t>
            </a:r>
            <a:endParaRPr lang="en-US" sz="786" b="1">
              <a:solidFill>
                <a:srgbClr val="ABABAB">
                  <a:lumMod val="25000"/>
                </a:srgbClr>
              </a:solidFill>
              <a:latin typeface="Arial" pitchFamily="34" charset="0"/>
              <a:cs typeface="Arial" pitchFamily="34" charset="0"/>
            </a:endParaRPr>
          </a:p>
        </p:txBody>
      </p:sp>
      <p:sp>
        <p:nvSpPr>
          <p:cNvPr id="95" name="Rectangle 94">
            <a:extLst>
              <a:ext uri="{FF2B5EF4-FFF2-40B4-BE49-F238E27FC236}">
                <a16:creationId xmlns:a16="http://schemas.microsoft.com/office/drawing/2014/main" id="{44F35CAF-E67A-4341-A92E-C981B8946B87}"/>
              </a:ext>
            </a:extLst>
          </p:cNvPr>
          <p:cNvSpPr/>
          <p:nvPr/>
        </p:nvSpPr>
        <p:spPr>
          <a:xfrm>
            <a:off x="3875932" y="2099857"/>
            <a:ext cx="655001" cy="2888380"/>
          </a:xfrm>
          <a:prstGeom prst="rect">
            <a:avLst/>
          </a:prstGeom>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ZA" sz="643" b="1">
                <a:solidFill>
                  <a:srgbClr val="ABABAB">
                    <a:lumMod val="25000"/>
                  </a:srgbClr>
                </a:solidFill>
                <a:latin typeface="Arial" pitchFamily="34" charset="0"/>
                <a:cs typeface="Arial" pitchFamily="34" charset="0"/>
              </a:rPr>
              <a:t>Landing/ Raw</a:t>
            </a:r>
          </a:p>
        </p:txBody>
      </p:sp>
      <p:sp>
        <p:nvSpPr>
          <p:cNvPr id="96" name="Rectangle 95">
            <a:extLst>
              <a:ext uri="{FF2B5EF4-FFF2-40B4-BE49-F238E27FC236}">
                <a16:creationId xmlns:a16="http://schemas.microsoft.com/office/drawing/2014/main" id="{2F500D36-E2F1-426C-83CC-81CBF62AE103}"/>
              </a:ext>
            </a:extLst>
          </p:cNvPr>
          <p:cNvSpPr/>
          <p:nvPr/>
        </p:nvSpPr>
        <p:spPr>
          <a:xfrm>
            <a:off x="4592037" y="2099857"/>
            <a:ext cx="655001" cy="2884629"/>
          </a:xfrm>
          <a:prstGeom prst="rect">
            <a:avLst/>
          </a:prstGeom>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ZA" sz="643" b="1">
                <a:solidFill>
                  <a:srgbClr val="ABABAB">
                    <a:lumMod val="25000"/>
                  </a:srgbClr>
                </a:solidFill>
                <a:latin typeface="Arial" pitchFamily="34" charset="0"/>
                <a:cs typeface="Arial" pitchFamily="34" charset="0"/>
              </a:rPr>
              <a:t>Curated</a:t>
            </a:r>
          </a:p>
        </p:txBody>
      </p:sp>
      <p:sp>
        <p:nvSpPr>
          <p:cNvPr id="115" name="Rectangle 114">
            <a:extLst>
              <a:ext uri="{FF2B5EF4-FFF2-40B4-BE49-F238E27FC236}">
                <a16:creationId xmlns:a16="http://schemas.microsoft.com/office/drawing/2014/main" id="{E3515AE7-1E51-4BB4-9694-DB014FF9A8BC}"/>
              </a:ext>
            </a:extLst>
          </p:cNvPr>
          <p:cNvSpPr/>
          <p:nvPr/>
        </p:nvSpPr>
        <p:spPr>
          <a:xfrm>
            <a:off x="1524000" y="5644000"/>
            <a:ext cx="9032683" cy="499311"/>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AU" sz="786" b="1">
                <a:solidFill>
                  <a:srgbClr val="ABABAB">
                    <a:lumMod val="25000"/>
                  </a:srgbClr>
                </a:solidFill>
                <a:latin typeface="Arial" pitchFamily="34" charset="0"/>
                <a:cs typeface="Arial" pitchFamily="34" charset="0"/>
              </a:rPr>
              <a:t>Data Management</a:t>
            </a:r>
            <a:endParaRPr lang="en-US" sz="786" b="1">
              <a:solidFill>
                <a:srgbClr val="ABABAB">
                  <a:lumMod val="25000"/>
                </a:srgbClr>
              </a:solidFill>
              <a:latin typeface="Arial" pitchFamily="34" charset="0"/>
              <a:cs typeface="Arial" pitchFamily="34" charset="0"/>
            </a:endParaRPr>
          </a:p>
        </p:txBody>
      </p:sp>
      <p:sp>
        <p:nvSpPr>
          <p:cNvPr id="116" name="Rectangle 115">
            <a:extLst>
              <a:ext uri="{FF2B5EF4-FFF2-40B4-BE49-F238E27FC236}">
                <a16:creationId xmlns:a16="http://schemas.microsoft.com/office/drawing/2014/main" id="{D8492100-1391-4FE3-A209-AC283A5B7078}"/>
              </a:ext>
            </a:extLst>
          </p:cNvPr>
          <p:cNvSpPr/>
          <p:nvPr/>
        </p:nvSpPr>
        <p:spPr>
          <a:xfrm>
            <a:off x="1553928" y="5884576"/>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Master Data</a:t>
            </a:r>
            <a:endParaRPr lang="en-US" sz="714">
              <a:solidFill>
                <a:srgbClr val="505050"/>
              </a:solidFill>
              <a:latin typeface="Arial" pitchFamily="34" charset="0"/>
              <a:cs typeface="Arial" pitchFamily="34" charset="0"/>
            </a:endParaRPr>
          </a:p>
        </p:txBody>
      </p:sp>
      <p:sp>
        <p:nvSpPr>
          <p:cNvPr id="117" name="Rectangle 116">
            <a:extLst>
              <a:ext uri="{FF2B5EF4-FFF2-40B4-BE49-F238E27FC236}">
                <a16:creationId xmlns:a16="http://schemas.microsoft.com/office/drawing/2014/main" id="{ECC5EAA3-A9FF-4AC2-BF26-BBF3BD302495}"/>
              </a:ext>
            </a:extLst>
          </p:cNvPr>
          <p:cNvSpPr/>
          <p:nvPr/>
        </p:nvSpPr>
        <p:spPr>
          <a:xfrm>
            <a:off x="2929246" y="5884576"/>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Meta Data</a:t>
            </a:r>
            <a:endParaRPr lang="en-US" sz="714">
              <a:solidFill>
                <a:srgbClr val="505050"/>
              </a:solidFill>
              <a:latin typeface="Arial" pitchFamily="34" charset="0"/>
              <a:cs typeface="Arial" pitchFamily="34" charset="0"/>
            </a:endParaRPr>
          </a:p>
        </p:txBody>
      </p:sp>
      <p:sp>
        <p:nvSpPr>
          <p:cNvPr id="118" name="Rectangle 117">
            <a:extLst>
              <a:ext uri="{FF2B5EF4-FFF2-40B4-BE49-F238E27FC236}">
                <a16:creationId xmlns:a16="http://schemas.microsoft.com/office/drawing/2014/main" id="{E89E4761-0EC5-46CC-9D8F-ADEC4D19994C}"/>
              </a:ext>
            </a:extLst>
          </p:cNvPr>
          <p:cNvSpPr/>
          <p:nvPr/>
        </p:nvSpPr>
        <p:spPr>
          <a:xfrm>
            <a:off x="4303143" y="5884576"/>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Lineage</a:t>
            </a:r>
            <a:endParaRPr lang="en-US" sz="714">
              <a:solidFill>
                <a:srgbClr val="505050"/>
              </a:solidFill>
              <a:latin typeface="Arial" pitchFamily="34" charset="0"/>
              <a:cs typeface="Arial" pitchFamily="34" charset="0"/>
            </a:endParaRPr>
          </a:p>
        </p:txBody>
      </p:sp>
      <p:sp>
        <p:nvSpPr>
          <p:cNvPr id="119" name="Rectangle 118">
            <a:extLst>
              <a:ext uri="{FF2B5EF4-FFF2-40B4-BE49-F238E27FC236}">
                <a16:creationId xmlns:a16="http://schemas.microsoft.com/office/drawing/2014/main" id="{9D818E17-0540-4792-9300-075D05E85B67}"/>
              </a:ext>
            </a:extLst>
          </p:cNvPr>
          <p:cNvSpPr/>
          <p:nvPr/>
        </p:nvSpPr>
        <p:spPr>
          <a:xfrm>
            <a:off x="5673955" y="5887505"/>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Life Cycle</a:t>
            </a:r>
            <a:endParaRPr lang="en-US" sz="714">
              <a:solidFill>
                <a:srgbClr val="505050"/>
              </a:solidFill>
              <a:latin typeface="Arial" pitchFamily="34" charset="0"/>
              <a:cs typeface="Arial" pitchFamily="34" charset="0"/>
            </a:endParaRPr>
          </a:p>
        </p:txBody>
      </p:sp>
      <p:sp>
        <p:nvSpPr>
          <p:cNvPr id="120" name="Rectangle 119">
            <a:extLst>
              <a:ext uri="{FF2B5EF4-FFF2-40B4-BE49-F238E27FC236}">
                <a16:creationId xmlns:a16="http://schemas.microsoft.com/office/drawing/2014/main" id="{70C7D634-3691-4277-9061-5D1DCC463D86}"/>
              </a:ext>
            </a:extLst>
          </p:cNvPr>
          <p:cNvSpPr/>
          <p:nvPr/>
        </p:nvSpPr>
        <p:spPr>
          <a:xfrm>
            <a:off x="7058375" y="5888936"/>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Archive</a:t>
            </a:r>
            <a:endParaRPr lang="en-US" sz="714">
              <a:solidFill>
                <a:srgbClr val="505050"/>
              </a:solidFill>
              <a:latin typeface="Arial" pitchFamily="34" charset="0"/>
              <a:cs typeface="Arial" pitchFamily="34" charset="0"/>
            </a:endParaRPr>
          </a:p>
        </p:txBody>
      </p:sp>
      <p:sp>
        <p:nvSpPr>
          <p:cNvPr id="121" name="Rectangle 120">
            <a:extLst>
              <a:ext uri="{FF2B5EF4-FFF2-40B4-BE49-F238E27FC236}">
                <a16:creationId xmlns:a16="http://schemas.microsoft.com/office/drawing/2014/main" id="{5B858E0D-02CE-47E5-B06A-5A3099BBA336}"/>
              </a:ext>
            </a:extLst>
          </p:cNvPr>
          <p:cNvSpPr/>
          <p:nvPr/>
        </p:nvSpPr>
        <p:spPr>
          <a:xfrm>
            <a:off x="8440863" y="5884576"/>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Quality</a:t>
            </a:r>
            <a:endParaRPr lang="en-US" sz="714">
              <a:solidFill>
                <a:srgbClr val="505050"/>
              </a:solidFill>
              <a:latin typeface="Arial" pitchFamily="34" charset="0"/>
              <a:cs typeface="Arial" pitchFamily="34" charset="0"/>
            </a:endParaRPr>
          </a:p>
        </p:txBody>
      </p:sp>
      <p:sp>
        <p:nvSpPr>
          <p:cNvPr id="123" name="Rectangle 122">
            <a:extLst>
              <a:ext uri="{FF2B5EF4-FFF2-40B4-BE49-F238E27FC236}">
                <a16:creationId xmlns:a16="http://schemas.microsoft.com/office/drawing/2014/main" id="{F1C3EB53-99D1-44C8-AB87-D682C1EDF7F7}"/>
              </a:ext>
            </a:extLst>
          </p:cNvPr>
          <p:cNvSpPr/>
          <p:nvPr/>
        </p:nvSpPr>
        <p:spPr>
          <a:xfrm>
            <a:off x="2364341" y="1939368"/>
            <a:ext cx="232964" cy="3088259"/>
          </a:xfrm>
          <a:prstGeom prst="rect">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endParaRPr lang="en-US" sz="786" b="1">
              <a:solidFill>
                <a:srgbClr val="ABABAB">
                  <a:lumMod val="25000"/>
                </a:srgbClr>
              </a:solidFill>
              <a:latin typeface="Arial" pitchFamily="34" charset="0"/>
              <a:cs typeface="Arial" pitchFamily="34" charset="0"/>
            </a:endParaRPr>
          </a:p>
        </p:txBody>
      </p:sp>
      <p:sp>
        <p:nvSpPr>
          <p:cNvPr id="124" name="Rectangle 123">
            <a:extLst>
              <a:ext uri="{FF2B5EF4-FFF2-40B4-BE49-F238E27FC236}">
                <a16:creationId xmlns:a16="http://schemas.microsoft.com/office/drawing/2014/main" id="{2618E13F-527F-4266-A25B-B8B8BA7826CF}"/>
              </a:ext>
            </a:extLst>
          </p:cNvPr>
          <p:cNvSpPr/>
          <p:nvPr/>
        </p:nvSpPr>
        <p:spPr>
          <a:xfrm rot="5400000">
            <a:off x="2037595" y="3394959"/>
            <a:ext cx="918841" cy="213264"/>
          </a:xfrm>
          <a:prstGeom prst="rect">
            <a:avLst/>
          </a:prstGeom>
        </p:spPr>
        <p:txBody>
          <a:bodyPr wrap="square">
            <a:spAutoFit/>
          </a:bodyPr>
          <a:lstStyle/>
          <a:p>
            <a:pPr algn="ctr" defTabSz="914418"/>
            <a:r>
              <a:rPr lang="en-AU" sz="786" b="1">
                <a:solidFill>
                  <a:srgbClr val="ABABAB">
                    <a:lumMod val="25000"/>
                  </a:srgbClr>
                </a:solidFill>
                <a:latin typeface="Arial" pitchFamily="34" charset="0"/>
                <a:cs typeface="Arial" pitchFamily="34" charset="0"/>
              </a:rPr>
              <a:t>Transformation</a:t>
            </a:r>
            <a:endParaRPr lang="en-US" sz="786" b="1">
              <a:solidFill>
                <a:srgbClr val="ABABAB">
                  <a:lumMod val="25000"/>
                </a:srgbClr>
              </a:solidFill>
              <a:latin typeface="Arial" pitchFamily="34" charset="0"/>
              <a:cs typeface="Arial" pitchFamily="34" charset="0"/>
            </a:endParaRPr>
          </a:p>
        </p:txBody>
      </p:sp>
      <p:sp>
        <p:nvSpPr>
          <p:cNvPr id="3" name="Rectangle 2">
            <a:extLst>
              <a:ext uri="{FF2B5EF4-FFF2-40B4-BE49-F238E27FC236}">
                <a16:creationId xmlns:a16="http://schemas.microsoft.com/office/drawing/2014/main" id="{D2F36323-D3A2-48ED-83F2-6B716D372173}"/>
              </a:ext>
            </a:extLst>
          </p:cNvPr>
          <p:cNvSpPr/>
          <p:nvPr/>
        </p:nvSpPr>
        <p:spPr>
          <a:xfrm rot="16200000">
            <a:off x="7513178" y="2257132"/>
            <a:ext cx="810329" cy="334194"/>
          </a:xfrm>
          <a:prstGeom prst="rect">
            <a:avLst/>
          </a:prstGeom>
        </p:spPr>
        <p:txBody>
          <a:bodyPr wrap="square">
            <a:spAutoFit/>
          </a:bodyPr>
          <a:lstStyle/>
          <a:p>
            <a:pPr algn="ctr" defTabSz="914418"/>
            <a:r>
              <a:rPr lang="en-AU" sz="786" b="1">
                <a:solidFill>
                  <a:srgbClr val="ABABAB">
                    <a:lumMod val="25000"/>
                  </a:srgbClr>
                </a:solidFill>
                <a:latin typeface="Arial" pitchFamily="34" charset="0"/>
                <a:cs typeface="Arial" pitchFamily="34" charset="0"/>
              </a:rPr>
              <a:t>Data Science Capability</a:t>
            </a:r>
            <a:endParaRPr lang="en-US" sz="786" b="1">
              <a:solidFill>
                <a:srgbClr val="ABABAB">
                  <a:lumMod val="25000"/>
                </a:srgbClr>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866BF498-A9E2-4B6E-8A76-F474D3278B40}"/>
              </a:ext>
            </a:extLst>
          </p:cNvPr>
          <p:cNvSpPr/>
          <p:nvPr/>
        </p:nvSpPr>
        <p:spPr>
          <a:xfrm rot="16200000">
            <a:off x="7498055" y="3240334"/>
            <a:ext cx="867467" cy="455125"/>
          </a:xfrm>
          <a:prstGeom prst="rect">
            <a:avLst/>
          </a:prstGeom>
        </p:spPr>
        <p:txBody>
          <a:bodyPr wrap="square">
            <a:spAutoFit/>
          </a:bodyPr>
          <a:lstStyle/>
          <a:p>
            <a:pPr algn="ctr" defTabSz="914418"/>
            <a:r>
              <a:rPr lang="en-AU" sz="786" b="1">
                <a:solidFill>
                  <a:srgbClr val="ABABAB">
                    <a:lumMod val="25000"/>
                  </a:srgbClr>
                </a:solidFill>
                <a:latin typeface="Arial" pitchFamily="34" charset="0"/>
                <a:cs typeface="Arial" pitchFamily="34" charset="0"/>
              </a:rPr>
              <a:t>Data Brokerage &amp; BI Capability</a:t>
            </a:r>
            <a:endParaRPr lang="en-US" sz="786" b="1">
              <a:solidFill>
                <a:srgbClr val="ABABAB">
                  <a:lumMod val="25000"/>
                </a:srgbClr>
              </a:solidFill>
              <a:latin typeface="Arial" pitchFamily="34" charset="0"/>
              <a:cs typeface="Arial" pitchFamily="34" charset="0"/>
            </a:endParaRPr>
          </a:p>
        </p:txBody>
      </p:sp>
      <p:sp>
        <p:nvSpPr>
          <p:cNvPr id="8" name="Rectangle 7">
            <a:extLst>
              <a:ext uri="{FF2B5EF4-FFF2-40B4-BE49-F238E27FC236}">
                <a16:creationId xmlns:a16="http://schemas.microsoft.com/office/drawing/2014/main" id="{3C5824F9-FCAA-4124-A9A5-793FED4F0B20}"/>
              </a:ext>
            </a:extLst>
          </p:cNvPr>
          <p:cNvSpPr/>
          <p:nvPr/>
        </p:nvSpPr>
        <p:spPr>
          <a:xfrm rot="16200000">
            <a:off x="7485977" y="4273937"/>
            <a:ext cx="863454" cy="455125"/>
          </a:xfrm>
          <a:prstGeom prst="rect">
            <a:avLst/>
          </a:prstGeom>
        </p:spPr>
        <p:txBody>
          <a:bodyPr wrap="square">
            <a:spAutoFit/>
          </a:bodyPr>
          <a:lstStyle/>
          <a:p>
            <a:pPr algn="ctr" defTabSz="914418"/>
            <a:r>
              <a:rPr lang="en-AU" sz="786" b="1">
                <a:solidFill>
                  <a:srgbClr val="ABABAB">
                    <a:lumMod val="25000"/>
                  </a:srgbClr>
                </a:solidFill>
                <a:latin typeface="Arial" pitchFamily="34" charset="0"/>
                <a:cs typeface="Arial" pitchFamily="34" charset="0"/>
              </a:rPr>
              <a:t>App Development Capability</a:t>
            </a:r>
            <a:endParaRPr lang="en-US" sz="786" b="1">
              <a:solidFill>
                <a:srgbClr val="ABABAB">
                  <a:lumMod val="25000"/>
                </a:srgbClr>
              </a:solidFill>
              <a:latin typeface="Arial" pitchFamily="34" charset="0"/>
              <a:cs typeface="Arial" pitchFamily="34" charset="0"/>
            </a:endParaRPr>
          </a:p>
        </p:txBody>
      </p:sp>
      <p:sp>
        <p:nvSpPr>
          <p:cNvPr id="125" name="Rectangle 124">
            <a:extLst>
              <a:ext uri="{FF2B5EF4-FFF2-40B4-BE49-F238E27FC236}">
                <a16:creationId xmlns:a16="http://schemas.microsoft.com/office/drawing/2014/main" id="{591E4DB3-0EBC-4E13-A036-63AC90FB6836}"/>
              </a:ext>
            </a:extLst>
          </p:cNvPr>
          <p:cNvSpPr/>
          <p:nvPr/>
        </p:nvSpPr>
        <p:spPr>
          <a:xfrm rot="16200000">
            <a:off x="2216610" y="2957539"/>
            <a:ext cx="1226835" cy="213264"/>
          </a:xfrm>
          <a:prstGeom prst="rect">
            <a:avLst/>
          </a:prstGeom>
        </p:spPr>
        <p:txBody>
          <a:bodyPr wrap="square">
            <a:spAutoFit/>
          </a:bodyPr>
          <a:lstStyle/>
          <a:p>
            <a:pPr algn="ctr" defTabSz="914418"/>
            <a:r>
              <a:rPr lang="en-AU" sz="786" b="1">
                <a:solidFill>
                  <a:srgbClr val="ABABAB">
                    <a:lumMod val="25000"/>
                  </a:srgbClr>
                </a:solidFill>
                <a:latin typeface="Arial" pitchFamily="34" charset="0"/>
                <a:cs typeface="Arial" pitchFamily="34" charset="0"/>
              </a:rPr>
              <a:t>Edge (On Premise)</a:t>
            </a:r>
            <a:endParaRPr lang="en-US" sz="786" b="1">
              <a:solidFill>
                <a:srgbClr val="ABABAB">
                  <a:lumMod val="25000"/>
                </a:srgbClr>
              </a:solidFill>
              <a:latin typeface="Arial" pitchFamily="34" charset="0"/>
              <a:cs typeface="Arial" pitchFamily="34" charset="0"/>
            </a:endParaRPr>
          </a:p>
        </p:txBody>
      </p:sp>
      <p:sp>
        <p:nvSpPr>
          <p:cNvPr id="126" name="Rectangle 125">
            <a:extLst>
              <a:ext uri="{FF2B5EF4-FFF2-40B4-BE49-F238E27FC236}">
                <a16:creationId xmlns:a16="http://schemas.microsoft.com/office/drawing/2014/main" id="{91E9A895-8534-4BFC-9F86-F3EAB9EACEE7}"/>
              </a:ext>
            </a:extLst>
          </p:cNvPr>
          <p:cNvSpPr/>
          <p:nvPr/>
        </p:nvSpPr>
        <p:spPr>
          <a:xfrm rot="16200000">
            <a:off x="2418795" y="4554696"/>
            <a:ext cx="812570" cy="213264"/>
          </a:xfrm>
          <a:prstGeom prst="rect">
            <a:avLst/>
          </a:prstGeom>
        </p:spPr>
        <p:txBody>
          <a:bodyPr wrap="square">
            <a:spAutoFit/>
          </a:bodyPr>
          <a:lstStyle/>
          <a:p>
            <a:pPr algn="ctr" defTabSz="914418"/>
            <a:r>
              <a:rPr lang="en-AU" sz="786" b="1">
                <a:solidFill>
                  <a:srgbClr val="ABABAB">
                    <a:lumMod val="25000"/>
                  </a:srgbClr>
                </a:solidFill>
                <a:latin typeface="Arial" pitchFamily="34" charset="0"/>
                <a:cs typeface="Arial" pitchFamily="34" charset="0"/>
              </a:rPr>
              <a:t>Edge (Cloud)</a:t>
            </a:r>
            <a:endParaRPr lang="en-US" sz="786" b="1">
              <a:solidFill>
                <a:srgbClr val="ABABAB">
                  <a:lumMod val="25000"/>
                </a:srgbClr>
              </a:solidFill>
              <a:latin typeface="Arial" pitchFamily="34" charset="0"/>
              <a:cs typeface="Arial" pitchFamily="34" charset="0"/>
            </a:endParaRPr>
          </a:p>
        </p:txBody>
      </p:sp>
      <p:sp>
        <p:nvSpPr>
          <p:cNvPr id="128" name="Rectangle 127">
            <a:extLst>
              <a:ext uri="{FF2B5EF4-FFF2-40B4-BE49-F238E27FC236}">
                <a16:creationId xmlns:a16="http://schemas.microsoft.com/office/drawing/2014/main" id="{3649DF5C-A858-4F40-B5B8-48ADCA6CAD56}"/>
              </a:ext>
            </a:extLst>
          </p:cNvPr>
          <p:cNvSpPr/>
          <p:nvPr/>
        </p:nvSpPr>
        <p:spPr>
          <a:xfrm>
            <a:off x="5416939" y="2439190"/>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Memory Optimised</a:t>
            </a:r>
            <a:endParaRPr lang="en-US" sz="714">
              <a:solidFill>
                <a:srgbClr val="505050"/>
              </a:solidFill>
              <a:latin typeface="Arial" pitchFamily="34" charset="0"/>
              <a:cs typeface="Arial" pitchFamily="34" charset="0"/>
            </a:endParaRPr>
          </a:p>
        </p:txBody>
      </p:sp>
      <p:sp>
        <p:nvSpPr>
          <p:cNvPr id="129" name="Rectangle 128">
            <a:extLst>
              <a:ext uri="{FF2B5EF4-FFF2-40B4-BE49-F238E27FC236}">
                <a16:creationId xmlns:a16="http://schemas.microsoft.com/office/drawing/2014/main" id="{67168697-6A0D-4AD3-A589-4BEC555D0E45}"/>
              </a:ext>
            </a:extLst>
          </p:cNvPr>
          <p:cNvSpPr/>
          <p:nvPr/>
        </p:nvSpPr>
        <p:spPr>
          <a:xfrm>
            <a:off x="6442863" y="2437361"/>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Massive Parallel Processing</a:t>
            </a:r>
            <a:endParaRPr lang="en-US" sz="714">
              <a:solidFill>
                <a:srgbClr val="505050"/>
              </a:solidFill>
              <a:latin typeface="Arial" pitchFamily="34" charset="0"/>
              <a:cs typeface="Arial" pitchFamily="34" charset="0"/>
            </a:endParaRPr>
          </a:p>
        </p:txBody>
      </p:sp>
      <p:sp>
        <p:nvSpPr>
          <p:cNvPr id="130" name="Rectangle 129">
            <a:extLst>
              <a:ext uri="{FF2B5EF4-FFF2-40B4-BE49-F238E27FC236}">
                <a16:creationId xmlns:a16="http://schemas.microsoft.com/office/drawing/2014/main" id="{C3140410-DB87-4510-8589-6C16C9012289}"/>
              </a:ext>
            </a:extLst>
          </p:cNvPr>
          <p:cNvSpPr/>
          <p:nvPr/>
        </p:nvSpPr>
        <p:spPr>
          <a:xfrm>
            <a:off x="5417784" y="2760320"/>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Clustering</a:t>
            </a:r>
            <a:endParaRPr lang="en-US" sz="714">
              <a:solidFill>
                <a:srgbClr val="505050"/>
              </a:solidFill>
              <a:latin typeface="Arial" pitchFamily="34" charset="0"/>
              <a:cs typeface="Arial" pitchFamily="34" charset="0"/>
            </a:endParaRPr>
          </a:p>
        </p:txBody>
      </p:sp>
      <p:sp>
        <p:nvSpPr>
          <p:cNvPr id="131" name="Rectangle 130">
            <a:extLst>
              <a:ext uri="{FF2B5EF4-FFF2-40B4-BE49-F238E27FC236}">
                <a16:creationId xmlns:a16="http://schemas.microsoft.com/office/drawing/2014/main" id="{29BF93E8-538D-4B9B-8469-D2AE42642CA8}"/>
              </a:ext>
            </a:extLst>
          </p:cNvPr>
          <p:cNvSpPr/>
          <p:nvPr/>
        </p:nvSpPr>
        <p:spPr>
          <a:xfrm>
            <a:off x="6442863" y="2750524"/>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Access across Structured and Unstructured Sources</a:t>
            </a:r>
            <a:endParaRPr lang="en-US" sz="714">
              <a:solidFill>
                <a:srgbClr val="505050"/>
              </a:solidFill>
              <a:latin typeface="Arial" pitchFamily="34" charset="0"/>
              <a:cs typeface="Arial" pitchFamily="34" charset="0"/>
            </a:endParaRPr>
          </a:p>
        </p:txBody>
      </p:sp>
      <p:sp>
        <p:nvSpPr>
          <p:cNvPr id="132" name="Rectangle 131">
            <a:extLst>
              <a:ext uri="{FF2B5EF4-FFF2-40B4-BE49-F238E27FC236}">
                <a16:creationId xmlns:a16="http://schemas.microsoft.com/office/drawing/2014/main" id="{A7EE62EB-D067-46BD-89FE-75C6713053DC}"/>
              </a:ext>
            </a:extLst>
          </p:cNvPr>
          <p:cNvSpPr/>
          <p:nvPr/>
        </p:nvSpPr>
        <p:spPr>
          <a:xfrm>
            <a:off x="5416019" y="3069168"/>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ML Capability</a:t>
            </a:r>
            <a:endParaRPr lang="en-US" sz="714">
              <a:solidFill>
                <a:srgbClr val="505050"/>
              </a:solidFill>
              <a:latin typeface="Arial" pitchFamily="34" charset="0"/>
              <a:cs typeface="Arial" pitchFamily="34" charset="0"/>
            </a:endParaRPr>
          </a:p>
        </p:txBody>
      </p:sp>
      <p:sp>
        <p:nvSpPr>
          <p:cNvPr id="134" name="Rectangle 133">
            <a:extLst>
              <a:ext uri="{FF2B5EF4-FFF2-40B4-BE49-F238E27FC236}">
                <a16:creationId xmlns:a16="http://schemas.microsoft.com/office/drawing/2014/main" id="{9B4E4900-13A7-42C8-ACE7-D01BC6E2A9EA}"/>
              </a:ext>
            </a:extLst>
          </p:cNvPr>
          <p:cNvSpPr/>
          <p:nvPr/>
        </p:nvSpPr>
        <p:spPr>
          <a:xfrm>
            <a:off x="5407001" y="3997759"/>
            <a:ext cx="2102429" cy="805884"/>
          </a:xfrm>
          <a:prstGeom prst="rect">
            <a:avLst/>
          </a:prstGeom>
          <a:ln w="1270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r>
              <a:rPr lang="en-ZA" sz="643" b="1">
                <a:solidFill>
                  <a:srgbClr val="ABABAB">
                    <a:lumMod val="25000"/>
                  </a:srgbClr>
                </a:solidFill>
                <a:latin typeface="Arial" pitchFamily="34" charset="0"/>
                <a:cs typeface="Arial" pitchFamily="34" charset="0"/>
              </a:rPr>
              <a:t>Analytical Engine</a:t>
            </a:r>
          </a:p>
        </p:txBody>
      </p:sp>
      <p:sp>
        <p:nvSpPr>
          <p:cNvPr id="135" name="Rectangle 134">
            <a:extLst>
              <a:ext uri="{FF2B5EF4-FFF2-40B4-BE49-F238E27FC236}">
                <a16:creationId xmlns:a16="http://schemas.microsoft.com/office/drawing/2014/main" id="{24EF601C-1B73-459E-B926-352BCA77217B}"/>
              </a:ext>
            </a:extLst>
          </p:cNvPr>
          <p:cNvSpPr/>
          <p:nvPr/>
        </p:nvSpPr>
        <p:spPr>
          <a:xfrm>
            <a:off x="5435508" y="4142626"/>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OLAP</a:t>
            </a:r>
            <a:endParaRPr lang="en-US" sz="714">
              <a:solidFill>
                <a:srgbClr val="505050"/>
              </a:solidFill>
              <a:latin typeface="Arial" pitchFamily="34" charset="0"/>
              <a:cs typeface="Arial" pitchFamily="34" charset="0"/>
            </a:endParaRPr>
          </a:p>
        </p:txBody>
      </p:sp>
      <p:sp>
        <p:nvSpPr>
          <p:cNvPr id="136" name="Rectangle 135">
            <a:extLst>
              <a:ext uri="{FF2B5EF4-FFF2-40B4-BE49-F238E27FC236}">
                <a16:creationId xmlns:a16="http://schemas.microsoft.com/office/drawing/2014/main" id="{3B466176-5A58-4672-A749-CAA79D070D93}"/>
              </a:ext>
            </a:extLst>
          </p:cNvPr>
          <p:cNvSpPr/>
          <p:nvPr/>
        </p:nvSpPr>
        <p:spPr>
          <a:xfrm>
            <a:off x="6482631" y="4153343"/>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Connect Multiple Sources</a:t>
            </a:r>
            <a:endParaRPr lang="en-US" sz="714">
              <a:solidFill>
                <a:srgbClr val="505050"/>
              </a:solidFill>
              <a:latin typeface="Arial" pitchFamily="34" charset="0"/>
              <a:cs typeface="Arial" pitchFamily="34" charset="0"/>
            </a:endParaRPr>
          </a:p>
        </p:txBody>
      </p:sp>
      <p:sp>
        <p:nvSpPr>
          <p:cNvPr id="137" name="Rectangle 136">
            <a:extLst>
              <a:ext uri="{FF2B5EF4-FFF2-40B4-BE49-F238E27FC236}">
                <a16:creationId xmlns:a16="http://schemas.microsoft.com/office/drawing/2014/main" id="{CB9BDAB3-303A-4E37-A2C2-CC3548F6B5FC}"/>
              </a:ext>
            </a:extLst>
          </p:cNvPr>
          <p:cNvSpPr/>
          <p:nvPr/>
        </p:nvSpPr>
        <p:spPr>
          <a:xfrm>
            <a:off x="5434716" y="4485335"/>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Access Management</a:t>
            </a:r>
            <a:endParaRPr lang="en-US" sz="714">
              <a:solidFill>
                <a:srgbClr val="505050"/>
              </a:solidFill>
              <a:latin typeface="Arial" pitchFamily="34" charset="0"/>
              <a:cs typeface="Arial" pitchFamily="34" charset="0"/>
            </a:endParaRPr>
          </a:p>
        </p:txBody>
      </p:sp>
      <p:sp>
        <p:nvSpPr>
          <p:cNvPr id="138" name="Rectangle 137">
            <a:extLst>
              <a:ext uri="{FF2B5EF4-FFF2-40B4-BE49-F238E27FC236}">
                <a16:creationId xmlns:a16="http://schemas.microsoft.com/office/drawing/2014/main" id="{1DE6BE19-39A4-4104-8DD5-1F07DF4D4EF8}"/>
              </a:ext>
            </a:extLst>
          </p:cNvPr>
          <p:cNvSpPr/>
          <p:nvPr/>
        </p:nvSpPr>
        <p:spPr>
          <a:xfrm>
            <a:off x="6482631" y="4491290"/>
            <a:ext cx="1013060" cy="29443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KPI and Metric Management</a:t>
            </a:r>
            <a:endParaRPr lang="en-US" sz="714">
              <a:solidFill>
                <a:srgbClr val="505050"/>
              </a:solidFill>
              <a:latin typeface="Arial" pitchFamily="34" charset="0"/>
              <a:cs typeface="Arial" pitchFamily="34" charset="0"/>
            </a:endParaRPr>
          </a:p>
        </p:txBody>
      </p:sp>
      <p:sp>
        <p:nvSpPr>
          <p:cNvPr id="139" name="Arrow: Right 138">
            <a:extLst>
              <a:ext uri="{FF2B5EF4-FFF2-40B4-BE49-F238E27FC236}">
                <a16:creationId xmlns:a16="http://schemas.microsoft.com/office/drawing/2014/main" id="{26B821A5-AB15-4FED-8086-2109ADD17D21}"/>
              </a:ext>
            </a:extLst>
          </p:cNvPr>
          <p:cNvSpPr/>
          <p:nvPr/>
        </p:nvSpPr>
        <p:spPr>
          <a:xfrm>
            <a:off x="4605795" y="2483913"/>
            <a:ext cx="810224" cy="267297"/>
          </a:xfrm>
          <a:prstGeom prst="rightArrow">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ZA" sz="714">
                <a:solidFill>
                  <a:srgbClr val="ABABAB">
                    <a:lumMod val="25000"/>
                  </a:srgbClr>
                </a:solidFill>
                <a:latin typeface="Arial" pitchFamily="34" charset="0"/>
                <a:cs typeface="Arial" pitchFamily="34" charset="0"/>
              </a:rPr>
              <a:t>Transformed</a:t>
            </a:r>
          </a:p>
        </p:txBody>
      </p:sp>
      <p:sp>
        <p:nvSpPr>
          <p:cNvPr id="140" name="Arrow: Right 139">
            <a:extLst>
              <a:ext uri="{FF2B5EF4-FFF2-40B4-BE49-F238E27FC236}">
                <a16:creationId xmlns:a16="http://schemas.microsoft.com/office/drawing/2014/main" id="{BCF9EB26-DEFC-48AD-8D14-37A224E6DFF4}"/>
              </a:ext>
            </a:extLst>
          </p:cNvPr>
          <p:cNvSpPr/>
          <p:nvPr/>
        </p:nvSpPr>
        <p:spPr>
          <a:xfrm>
            <a:off x="4605439" y="4039560"/>
            <a:ext cx="810224" cy="267297"/>
          </a:xfrm>
          <a:prstGeom prst="rightArrow">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ZA" sz="714">
                <a:solidFill>
                  <a:srgbClr val="ABABAB">
                    <a:lumMod val="25000"/>
                  </a:srgbClr>
                </a:solidFill>
                <a:latin typeface="Arial" pitchFamily="34" charset="0"/>
                <a:cs typeface="Arial" pitchFamily="34" charset="0"/>
              </a:rPr>
              <a:t>Transformed</a:t>
            </a:r>
          </a:p>
        </p:txBody>
      </p:sp>
      <p:sp>
        <p:nvSpPr>
          <p:cNvPr id="141" name="Arrow: Right 140">
            <a:extLst>
              <a:ext uri="{FF2B5EF4-FFF2-40B4-BE49-F238E27FC236}">
                <a16:creationId xmlns:a16="http://schemas.microsoft.com/office/drawing/2014/main" id="{D005791B-1F18-42D5-BED4-5E2BB8B57C4C}"/>
              </a:ext>
            </a:extLst>
          </p:cNvPr>
          <p:cNvSpPr/>
          <p:nvPr/>
        </p:nvSpPr>
        <p:spPr>
          <a:xfrm>
            <a:off x="4061337" y="2889588"/>
            <a:ext cx="1340268" cy="267297"/>
          </a:xfrm>
          <a:prstGeom prst="rightArrow">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ZA" sz="714">
                <a:solidFill>
                  <a:srgbClr val="ABABAB">
                    <a:lumMod val="25000"/>
                  </a:srgbClr>
                </a:solidFill>
                <a:latin typeface="Arial" pitchFamily="34" charset="0"/>
                <a:cs typeface="Arial" pitchFamily="34" charset="0"/>
              </a:rPr>
              <a:t>No Transformation</a:t>
            </a:r>
          </a:p>
        </p:txBody>
      </p:sp>
      <p:sp>
        <p:nvSpPr>
          <p:cNvPr id="142" name="Arrow: Right 141">
            <a:extLst>
              <a:ext uri="{FF2B5EF4-FFF2-40B4-BE49-F238E27FC236}">
                <a16:creationId xmlns:a16="http://schemas.microsoft.com/office/drawing/2014/main" id="{D7290B0C-A45F-446A-B063-5E38B28BB947}"/>
              </a:ext>
            </a:extLst>
          </p:cNvPr>
          <p:cNvSpPr/>
          <p:nvPr/>
        </p:nvSpPr>
        <p:spPr>
          <a:xfrm>
            <a:off x="4073017" y="4491289"/>
            <a:ext cx="1340268" cy="267297"/>
          </a:xfrm>
          <a:prstGeom prst="rightArrow">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ZA" sz="714">
                <a:solidFill>
                  <a:srgbClr val="ABABAB">
                    <a:lumMod val="25000"/>
                  </a:srgbClr>
                </a:solidFill>
                <a:latin typeface="Arial" pitchFamily="34" charset="0"/>
                <a:cs typeface="Arial" pitchFamily="34" charset="0"/>
              </a:rPr>
              <a:t>No Transformation</a:t>
            </a:r>
          </a:p>
        </p:txBody>
      </p:sp>
      <p:sp>
        <p:nvSpPr>
          <p:cNvPr id="90" name="Arrow: Right 89">
            <a:extLst>
              <a:ext uri="{FF2B5EF4-FFF2-40B4-BE49-F238E27FC236}">
                <a16:creationId xmlns:a16="http://schemas.microsoft.com/office/drawing/2014/main" id="{AC9BC16D-63B5-4541-A521-29440527C8C2}"/>
              </a:ext>
            </a:extLst>
          </p:cNvPr>
          <p:cNvSpPr/>
          <p:nvPr/>
        </p:nvSpPr>
        <p:spPr>
          <a:xfrm rot="5400000">
            <a:off x="6224812" y="3573049"/>
            <a:ext cx="560836" cy="267297"/>
          </a:xfrm>
          <a:prstGeom prst="rightArrow">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914418"/>
            <a:endParaRPr lang="en-ZA" sz="714">
              <a:solidFill>
                <a:srgbClr val="ABABAB">
                  <a:lumMod val="25000"/>
                </a:srgbClr>
              </a:solidFill>
              <a:latin typeface="Arial" pitchFamily="34" charset="0"/>
              <a:cs typeface="Arial" pitchFamily="34" charset="0"/>
            </a:endParaRPr>
          </a:p>
        </p:txBody>
      </p:sp>
      <p:sp>
        <p:nvSpPr>
          <p:cNvPr id="4" name="TextBox 3">
            <a:extLst>
              <a:ext uri="{FF2B5EF4-FFF2-40B4-BE49-F238E27FC236}">
                <a16:creationId xmlns:a16="http://schemas.microsoft.com/office/drawing/2014/main" id="{0A482F3C-61BA-447A-A174-87818C0C2A60}"/>
              </a:ext>
            </a:extLst>
          </p:cNvPr>
          <p:cNvSpPr txBox="1"/>
          <p:nvPr/>
        </p:nvSpPr>
        <p:spPr>
          <a:xfrm rot="16200000">
            <a:off x="3421235" y="3596232"/>
            <a:ext cx="1539339" cy="312265"/>
          </a:xfrm>
          <a:prstGeom prst="rect">
            <a:avLst/>
          </a:prstGeom>
          <a:noFill/>
        </p:spPr>
        <p:txBody>
          <a:bodyPr wrap="square" rtlCol="0">
            <a:spAutoFit/>
          </a:bodyPr>
          <a:lstStyle/>
          <a:p>
            <a:pPr algn="ctr" defTabSz="914418"/>
            <a:r>
              <a:rPr lang="en-ZA" sz="1429">
                <a:solidFill>
                  <a:srgbClr val="505050"/>
                </a:solidFill>
                <a:latin typeface="Segoe UI Semilight"/>
              </a:rPr>
              <a:t>Immutable</a:t>
            </a:r>
          </a:p>
        </p:txBody>
      </p:sp>
      <p:sp>
        <p:nvSpPr>
          <p:cNvPr id="94" name="Rectangle 93">
            <a:extLst>
              <a:ext uri="{FF2B5EF4-FFF2-40B4-BE49-F238E27FC236}">
                <a16:creationId xmlns:a16="http://schemas.microsoft.com/office/drawing/2014/main" id="{50756DAB-AAC2-4690-8682-DCF1484F6B90}"/>
              </a:ext>
            </a:extLst>
          </p:cNvPr>
          <p:cNvSpPr/>
          <p:nvPr/>
        </p:nvSpPr>
        <p:spPr>
          <a:xfrm>
            <a:off x="8378541" y="4560293"/>
            <a:ext cx="1013060" cy="38215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Composite Apps (HPC + Data + ML)</a:t>
            </a:r>
            <a:endParaRPr lang="en-US" sz="714">
              <a:solidFill>
                <a:srgbClr val="505050"/>
              </a:solidFill>
              <a:latin typeface="Arial" pitchFamily="34" charset="0"/>
              <a:cs typeface="Arial" pitchFamily="34" charset="0"/>
            </a:endParaRPr>
          </a:p>
        </p:txBody>
      </p:sp>
      <p:sp>
        <p:nvSpPr>
          <p:cNvPr id="98" name="Rectangle 97">
            <a:extLst>
              <a:ext uri="{FF2B5EF4-FFF2-40B4-BE49-F238E27FC236}">
                <a16:creationId xmlns:a16="http://schemas.microsoft.com/office/drawing/2014/main" id="{949EAEBE-15D5-4711-8B63-B0756BC46DDA}"/>
              </a:ext>
            </a:extLst>
          </p:cNvPr>
          <p:cNvSpPr/>
          <p:nvPr/>
        </p:nvSpPr>
        <p:spPr>
          <a:xfrm>
            <a:off x="8382996" y="3166238"/>
            <a:ext cx="1013060" cy="373181"/>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Traditional BI Solutions</a:t>
            </a:r>
            <a:endParaRPr lang="en-US" sz="714">
              <a:solidFill>
                <a:srgbClr val="505050"/>
              </a:solidFill>
              <a:latin typeface="Arial" pitchFamily="34" charset="0"/>
              <a:cs typeface="Arial" pitchFamily="34" charset="0"/>
            </a:endParaRPr>
          </a:p>
        </p:txBody>
      </p:sp>
      <p:sp>
        <p:nvSpPr>
          <p:cNvPr id="99" name="Rectangle 98">
            <a:extLst>
              <a:ext uri="{FF2B5EF4-FFF2-40B4-BE49-F238E27FC236}">
                <a16:creationId xmlns:a16="http://schemas.microsoft.com/office/drawing/2014/main" id="{C0501371-8196-4270-8753-E827818F8819}"/>
              </a:ext>
            </a:extLst>
          </p:cNvPr>
          <p:cNvSpPr/>
          <p:nvPr/>
        </p:nvSpPr>
        <p:spPr>
          <a:xfrm>
            <a:off x="8382996" y="3608774"/>
            <a:ext cx="1013060" cy="373181"/>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Data brokerage portal and Marketplace</a:t>
            </a:r>
            <a:endParaRPr lang="en-US" sz="714">
              <a:solidFill>
                <a:srgbClr val="505050"/>
              </a:solidFill>
              <a:latin typeface="Arial" pitchFamily="34" charset="0"/>
              <a:cs typeface="Arial" pitchFamily="34" charset="0"/>
            </a:endParaRPr>
          </a:p>
        </p:txBody>
      </p:sp>
      <p:sp>
        <p:nvSpPr>
          <p:cNvPr id="100" name="Rectangle 99">
            <a:extLst>
              <a:ext uri="{FF2B5EF4-FFF2-40B4-BE49-F238E27FC236}">
                <a16:creationId xmlns:a16="http://schemas.microsoft.com/office/drawing/2014/main" id="{BEC91AE4-DA6A-4F85-A10B-74781ED3AD26}"/>
              </a:ext>
            </a:extLst>
          </p:cNvPr>
          <p:cNvSpPr/>
          <p:nvPr/>
        </p:nvSpPr>
        <p:spPr>
          <a:xfrm>
            <a:off x="8382996" y="4084632"/>
            <a:ext cx="1013060" cy="373181"/>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Data exploration portal (all data, NLQ, spatial)</a:t>
            </a:r>
            <a:endParaRPr lang="en-US" sz="714">
              <a:solidFill>
                <a:srgbClr val="505050"/>
              </a:solidFill>
              <a:latin typeface="Arial" pitchFamily="34" charset="0"/>
              <a:cs typeface="Arial" pitchFamily="34" charset="0"/>
            </a:endParaRPr>
          </a:p>
        </p:txBody>
      </p:sp>
      <p:sp>
        <p:nvSpPr>
          <p:cNvPr id="101" name="Rectangle 100">
            <a:extLst>
              <a:ext uri="{FF2B5EF4-FFF2-40B4-BE49-F238E27FC236}">
                <a16:creationId xmlns:a16="http://schemas.microsoft.com/office/drawing/2014/main" id="{5CA5AEF6-BED1-4E49-BF2F-023DB250134C}"/>
              </a:ext>
            </a:extLst>
          </p:cNvPr>
          <p:cNvSpPr/>
          <p:nvPr/>
        </p:nvSpPr>
        <p:spPr>
          <a:xfrm>
            <a:off x="8382996" y="2278335"/>
            <a:ext cx="1013060" cy="373181"/>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Citizen Analytics portal</a:t>
            </a:r>
            <a:endParaRPr lang="en-US" sz="714">
              <a:solidFill>
                <a:srgbClr val="505050"/>
              </a:solidFill>
              <a:latin typeface="Arial" pitchFamily="34" charset="0"/>
              <a:cs typeface="Arial" pitchFamily="34" charset="0"/>
            </a:endParaRPr>
          </a:p>
        </p:txBody>
      </p:sp>
      <p:sp>
        <p:nvSpPr>
          <p:cNvPr id="102" name="Rectangle 101">
            <a:extLst>
              <a:ext uri="{FF2B5EF4-FFF2-40B4-BE49-F238E27FC236}">
                <a16:creationId xmlns:a16="http://schemas.microsoft.com/office/drawing/2014/main" id="{F7F957C5-821F-4972-AB14-FDA0065762DB}"/>
              </a:ext>
            </a:extLst>
          </p:cNvPr>
          <p:cNvSpPr/>
          <p:nvPr/>
        </p:nvSpPr>
        <p:spPr>
          <a:xfrm>
            <a:off x="9697910" y="2235442"/>
            <a:ext cx="754774" cy="383100"/>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Web client</a:t>
            </a:r>
            <a:endParaRPr lang="en-US" sz="714">
              <a:solidFill>
                <a:srgbClr val="505050"/>
              </a:solidFill>
              <a:latin typeface="Arial" pitchFamily="34" charset="0"/>
              <a:cs typeface="Arial" pitchFamily="34" charset="0"/>
            </a:endParaRPr>
          </a:p>
        </p:txBody>
      </p:sp>
      <p:sp>
        <p:nvSpPr>
          <p:cNvPr id="103" name="Rectangle 102">
            <a:extLst>
              <a:ext uri="{FF2B5EF4-FFF2-40B4-BE49-F238E27FC236}">
                <a16:creationId xmlns:a16="http://schemas.microsoft.com/office/drawing/2014/main" id="{AF307EF5-1BA0-43E8-AB23-2100EC0AA924}"/>
              </a:ext>
            </a:extLst>
          </p:cNvPr>
          <p:cNvSpPr/>
          <p:nvPr/>
        </p:nvSpPr>
        <p:spPr>
          <a:xfrm>
            <a:off x="9707078" y="2683668"/>
            <a:ext cx="754774" cy="383099"/>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Mobile client</a:t>
            </a:r>
            <a:endParaRPr lang="en-US" sz="714">
              <a:solidFill>
                <a:srgbClr val="505050"/>
              </a:solidFill>
              <a:latin typeface="Arial" pitchFamily="34" charset="0"/>
              <a:cs typeface="Arial" pitchFamily="34" charset="0"/>
            </a:endParaRPr>
          </a:p>
        </p:txBody>
      </p:sp>
      <p:sp>
        <p:nvSpPr>
          <p:cNvPr id="104" name="Rectangle 103">
            <a:extLst>
              <a:ext uri="{FF2B5EF4-FFF2-40B4-BE49-F238E27FC236}">
                <a16:creationId xmlns:a16="http://schemas.microsoft.com/office/drawing/2014/main" id="{A179D4D0-911B-4083-9E0F-DFEDC2E7D7A4}"/>
              </a:ext>
            </a:extLst>
          </p:cNvPr>
          <p:cNvSpPr/>
          <p:nvPr/>
        </p:nvSpPr>
        <p:spPr>
          <a:xfrm>
            <a:off x="9692178" y="4149431"/>
            <a:ext cx="754774" cy="38817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Enterprise Search and NLP</a:t>
            </a:r>
            <a:endParaRPr lang="en-US" sz="714">
              <a:solidFill>
                <a:srgbClr val="505050"/>
              </a:solidFill>
              <a:latin typeface="Arial" pitchFamily="34" charset="0"/>
              <a:cs typeface="Arial" pitchFamily="34" charset="0"/>
            </a:endParaRPr>
          </a:p>
        </p:txBody>
      </p:sp>
      <p:sp>
        <p:nvSpPr>
          <p:cNvPr id="105" name="Rectangle 104">
            <a:extLst>
              <a:ext uri="{FF2B5EF4-FFF2-40B4-BE49-F238E27FC236}">
                <a16:creationId xmlns:a16="http://schemas.microsoft.com/office/drawing/2014/main" id="{5ED4BAD4-2C8F-482E-865F-320F10352458}"/>
              </a:ext>
            </a:extLst>
          </p:cNvPr>
          <p:cNvSpPr/>
          <p:nvPr/>
        </p:nvSpPr>
        <p:spPr>
          <a:xfrm>
            <a:off x="8382996" y="2729139"/>
            <a:ext cx="1013060" cy="373181"/>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Data and Cognitive APIs and Enterprise Search</a:t>
            </a:r>
            <a:endParaRPr lang="en-US" sz="714">
              <a:solidFill>
                <a:srgbClr val="505050"/>
              </a:solidFill>
              <a:latin typeface="Arial" pitchFamily="34" charset="0"/>
              <a:cs typeface="Arial" pitchFamily="34" charset="0"/>
            </a:endParaRPr>
          </a:p>
        </p:txBody>
      </p:sp>
      <p:sp>
        <p:nvSpPr>
          <p:cNvPr id="106" name="Rectangle 105">
            <a:extLst>
              <a:ext uri="{FF2B5EF4-FFF2-40B4-BE49-F238E27FC236}">
                <a16:creationId xmlns:a16="http://schemas.microsoft.com/office/drawing/2014/main" id="{96D4D3E1-DD97-4BA7-BBE2-BC943A259E1E}"/>
              </a:ext>
            </a:extLst>
          </p:cNvPr>
          <p:cNvSpPr/>
          <p:nvPr/>
        </p:nvSpPr>
        <p:spPr>
          <a:xfrm>
            <a:off x="9697910" y="4618582"/>
            <a:ext cx="754774" cy="377341"/>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3rd party apps</a:t>
            </a:r>
            <a:endParaRPr lang="en-US" sz="714">
              <a:solidFill>
                <a:srgbClr val="505050"/>
              </a:solidFill>
              <a:latin typeface="Arial" pitchFamily="34" charset="0"/>
              <a:cs typeface="Arial" pitchFamily="34" charset="0"/>
            </a:endParaRPr>
          </a:p>
        </p:txBody>
      </p:sp>
      <p:sp>
        <p:nvSpPr>
          <p:cNvPr id="107" name="Rectangle 106">
            <a:extLst>
              <a:ext uri="{FF2B5EF4-FFF2-40B4-BE49-F238E27FC236}">
                <a16:creationId xmlns:a16="http://schemas.microsoft.com/office/drawing/2014/main" id="{6A40116D-F6FA-45A0-AF81-88B3476D7C86}"/>
              </a:ext>
            </a:extLst>
          </p:cNvPr>
          <p:cNvSpPr/>
          <p:nvPr/>
        </p:nvSpPr>
        <p:spPr>
          <a:xfrm>
            <a:off x="9697910" y="3142810"/>
            <a:ext cx="754774" cy="377342"/>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Collaboration client</a:t>
            </a:r>
            <a:endParaRPr lang="en-US" sz="714">
              <a:solidFill>
                <a:srgbClr val="505050"/>
              </a:solidFill>
              <a:latin typeface="Arial" pitchFamily="34" charset="0"/>
              <a:cs typeface="Arial" pitchFamily="34" charset="0"/>
            </a:endParaRPr>
          </a:p>
        </p:txBody>
      </p:sp>
      <p:sp>
        <p:nvSpPr>
          <p:cNvPr id="108" name="Rectangle 107">
            <a:extLst>
              <a:ext uri="{FF2B5EF4-FFF2-40B4-BE49-F238E27FC236}">
                <a16:creationId xmlns:a16="http://schemas.microsoft.com/office/drawing/2014/main" id="{09F68483-A429-4820-8682-19840BA69CB1}"/>
              </a:ext>
            </a:extLst>
          </p:cNvPr>
          <p:cNvSpPr/>
          <p:nvPr/>
        </p:nvSpPr>
        <p:spPr>
          <a:xfrm>
            <a:off x="9697910" y="3613081"/>
            <a:ext cx="754774" cy="38817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3D/4D Visualisation. VR</a:t>
            </a:r>
            <a:endParaRPr lang="en-US" sz="714">
              <a:solidFill>
                <a:srgbClr val="505050"/>
              </a:solidFill>
              <a:latin typeface="Arial" pitchFamily="34" charset="0"/>
              <a:cs typeface="Arial" pitchFamily="34" charset="0"/>
            </a:endParaRPr>
          </a:p>
        </p:txBody>
      </p:sp>
      <p:sp>
        <p:nvSpPr>
          <p:cNvPr id="109" name="Rectangle 108">
            <a:extLst>
              <a:ext uri="{FF2B5EF4-FFF2-40B4-BE49-F238E27FC236}">
                <a16:creationId xmlns:a16="http://schemas.microsoft.com/office/drawing/2014/main" id="{04847705-350C-4483-BCE4-ACEA9809D41A}"/>
              </a:ext>
            </a:extLst>
          </p:cNvPr>
          <p:cNvSpPr/>
          <p:nvPr/>
        </p:nvSpPr>
        <p:spPr>
          <a:xfrm>
            <a:off x="3512899" y="5272090"/>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DevOps</a:t>
            </a:r>
            <a:endParaRPr lang="en-US" sz="714">
              <a:solidFill>
                <a:srgbClr val="505050"/>
              </a:solidFill>
              <a:latin typeface="Arial" pitchFamily="34" charset="0"/>
              <a:cs typeface="Arial" pitchFamily="34" charset="0"/>
            </a:endParaRPr>
          </a:p>
        </p:txBody>
      </p:sp>
      <p:sp>
        <p:nvSpPr>
          <p:cNvPr id="110" name="Rectangle 109">
            <a:extLst>
              <a:ext uri="{FF2B5EF4-FFF2-40B4-BE49-F238E27FC236}">
                <a16:creationId xmlns:a16="http://schemas.microsoft.com/office/drawing/2014/main" id="{71A5F56A-79E9-422C-B26A-BD62F2F00C13}"/>
              </a:ext>
            </a:extLst>
          </p:cNvPr>
          <p:cNvSpPr/>
          <p:nvPr/>
        </p:nvSpPr>
        <p:spPr>
          <a:xfrm>
            <a:off x="4914578" y="5272089"/>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Service Management</a:t>
            </a:r>
          </a:p>
        </p:txBody>
      </p:sp>
      <p:sp>
        <p:nvSpPr>
          <p:cNvPr id="111" name="Rectangle 110">
            <a:extLst>
              <a:ext uri="{FF2B5EF4-FFF2-40B4-BE49-F238E27FC236}">
                <a16:creationId xmlns:a16="http://schemas.microsoft.com/office/drawing/2014/main" id="{8DF9A9F9-42DA-4C37-9F99-2FEA71210ACD}"/>
              </a:ext>
            </a:extLst>
          </p:cNvPr>
          <p:cNvSpPr/>
          <p:nvPr/>
        </p:nvSpPr>
        <p:spPr>
          <a:xfrm>
            <a:off x="6292193" y="5272089"/>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Security</a:t>
            </a:r>
            <a:endParaRPr lang="en-US" sz="714">
              <a:solidFill>
                <a:srgbClr val="505050"/>
              </a:solidFill>
              <a:latin typeface="Arial" pitchFamily="34" charset="0"/>
              <a:cs typeface="Arial" pitchFamily="34" charset="0"/>
            </a:endParaRPr>
          </a:p>
        </p:txBody>
      </p:sp>
      <p:sp>
        <p:nvSpPr>
          <p:cNvPr id="112" name="Rectangle 111">
            <a:extLst>
              <a:ext uri="{FF2B5EF4-FFF2-40B4-BE49-F238E27FC236}">
                <a16:creationId xmlns:a16="http://schemas.microsoft.com/office/drawing/2014/main" id="{D9BB286A-F368-4819-85BE-E7864C698BA1}"/>
              </a:ext>
            </a:extLst>
          </p:cNvPr>
          <p:cNvSpPr/>
          <p:nvPr/>
        </p:nvSpPr>
        <p:spPr>
          <a:xfrm>
            <a:off x="7669809" y="5272089"/>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Governance</a:t>
            </a:r>
            <a:endParaRPr lang="en-US" sz="714">
              <a:solidFill>
                <a:srgbClr val="505050"/>
              </a:solidFill>
              <a:latin typeface="Arial" pitchFamily="34" charset="0"/>
              <a:cs typeface="Arial" pitchFamily="34" charset="0"/>
            </a:endParaRPr>
          </a:p>
        </p:txBody>
      </p:sp>
      <p:sp>
        <p:nvSpPr>
          <p:cNvPr id="113" name="Rectangle 112">
            <a:extLst>
              <a:ext uri="{FF2B5EF4-FFF2-40B4-BE49-F238E27FC236}">
                <a16:creationId xmlns:a16="http://schemas.microsoft.com/office/drawing/2014/main" id="{CA0848F5-A449-493B-9FFD-CB90C046EFD4}"/>
              </a:ext>
            </a:extLst>
          </p:cNvPr>
          <p:cNvSpPr/>
          <p:nvPr/>
        </p:nvSpPr>
        <p:spPr>
          <a:xfrm>
            <a:off x="9065472" y="5272089"/>
            <a:ext cx="1320166" cy="19401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AU" sz="714">
                <a:solidFill>
                  <a:srgbClr val="505050"/>
                </a:solidFill>
                <a:latin typeface="Arial" pitchFamily="34" charset="0"/>
                <a:cs typeface="Arial" pitchFamily="34" charset="0"/>
              </a:rPr>
              <a:t>Platform Analytics</a:t>
            </a:r>
            <a:endParaRPr lang="en-US" sz="714">
              <a:solidFill>
                <a:srgbClr val="505050"/>
              </a:solidFill>
              <a:latin typeface="Arial" pitchFamily="34" charset="0"/>
              <a:cs typeface="Arial" pitchFamily="34" charset="0"/>
            </a:endParaRPr>
          </a:p>
        </p:txBody>
      </p:sp>
      <p:sp>
        <p:nvSpPr>
          <p:cNvPr id="122" name="Rectangle 121">
            <a:extLst>
              <a:ext uri="{FF2B5EF4-FFF2-40B4-BE49-F238E27FC236}">
                <a16:creationId xmlns:a16="http://schemas.microsoft.com/office/drawing/2014/main" id="{0BAA203C-5753-45DC-8E2A-43362FB6F9D0}"/>
              </a:ext>
            </a:extLst>
          </p:cNvPr>
          <p:cNvSpPr/>
          <p:nvPr/>
        </p:nvSpPr>
        <p:spPr>
          <a:xfrm>
            <a:off x="4566807" y="1592116"/>
            <a:ext cx="1254358" cy="18950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ZA" sz="714">
                <a:solidFill>
                  <a:srgbClr val="505050"/>
                </a:solidFill>
                <a:latin typeface="Arial" pitchFamily="34" charset="0"/>
                <a:cs typeface="Arial" pitchFamily="34" charset="0"/>
              </a:rPr>
              <a:t>Component Orchestration</a:t>
            </a:r>
          </a:p>
        </p:txBody>
      </p:sp>
      <p:sp>
        <p:nvSpPr>
          <p:cNvPr id="127" name="Rectangle 126">
            <a:extLst>
              <a:ext uri="{FF2B5EF4-FFF2-40B4-BE49-F238E27FC236}">
                <a16:creationId xmlns:a16="http://schemas.microsoft.com/office/drawing/2014/main" id="{68E86E85-FA85-4F28-BA4B-C70CD6EFC1A3}"/>
              </a:ext>
            </a:extLst>
          </p:cNvPr>
          <p:cNvSpPr/>
          <p:nvPr/>
        </p:nvSpPr>
        <p:spPr>
          <a:xfrm>
            <a:off x="5932683" y="1592116"/>
            <a:ext cx="1254358" cy="18950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ZA" sz="714">
                <a:solidFill>
                  <a:srgbClr val="505050"/>
                </a:solidFill>
                <a:latin typeface="Arial" pitchFamily="34" charset="0"/>
                <a:cs typeface="Arial" pitchFamily="34" charset="0"/>
              </a:rPr>
              <a:t>Business Workflow</a:t>
            </a:r>
          </a:p>
        </p:txBody>
      </p:sp>
      <p:sp>
        <p:nvSpPr>
          <p:cNvPr id="143" name="Rectangle 142">
            <a:extLst>
              <a:ext uri="{FF2B5EF4-FFF2-40B4-BE49-F238E27FC236}">
                <a16:creationId xmlns:a16="http://schemas.microsoft.com/office/drawing/2014/main" id="{FE53B537-F04C-422A-AEA7-0552C410EB71}"/>
              </a:ext>
            </a:extLst>
          </p:cNvPr>
          <p:cNvSpPr/>
          <p:nvPr/>
        </p:nvSpPr>
        <p:spPr>
          <a:xfrm>
            <a:off x="7329021" y="1585308"/>
            <a:ext cx="1254358" cy="189506"/>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18"/>
            <a:r>
              <a:rPr lang="en-ZA" sz="714">
                <a:solidFill>
                  <a:srgbClr val="505050"/>
                </a:solidFill>
                <a:latin typeface="Arial" pitchFamily="34" charset="0"/>
                <a:cs typeface="Arial" pitchFamily="34" charset="0"/>
              </a:rPr>
              <a:t>Service Configuration</a:t>
            </a:r>
          </a:p>
        </p:txBody>
      </p:sp>
      <p:sp>
        <p:nvSpPr>
          <p:cNvPr id="5" name="TextBox 4">
            <a:extLst>
              <a:ext uri="{FF2B5EF4-FFF2-40B4-BE49-F238E27FC236}">
                <a16:creationId xmlns:a16="http://schemas.microsoft.com/office/drawing/2014/main" id="{119B14E1-A379-4E0F-A141-8EE06B4EAE67}"/>
              </a:ext>
            </a:extLst>
          </p:cNvPr>
          <p:cNvSpPr txBox="1"/>
          <p:nvPr/>
        </p:nvSpPr>
        <p:spPr>
          <a:xfrm>
            <a:off x="676110" y="6396075"/>
            <a:ext cx="9880573" cy="215444"/>
          </a:xfrm>
          <a:prstGeom prst="rect">
            <a:avLst/>
          </a:prstGeom>
          <a:noFill/>
        </p:spPr>
        <p:txBody>
          <a:bodyPr wrap="square" rtlCol="0">
            <a:spAutoFit/>
          </a:bodyPr>
          <a:lstStyle/>
          <a:p>
            <a:pPr algn="r"/>
            <a:r>
              <a:rPr lang="en-ZA" sz="800"/>
              <a:t>Credit: </a:t>
            </a:r>
            <a:r>
              <a:rPr lang="en-US" sz="800" b="0" i="0">
                <a:solidFill>
                  <a:srgbClr val="B5AEA4"/>
                </a:solidFill>
                <a:effectLst/>
                <a:latin typeface="arial" panose="020B0604020202020204" pitchFamily="34" charset="0"/>
              </a:rPr>
              <a:t>© </a:t>
            </a:r>
            <a:r>
              <a:rPr lang="en-ZA" sz="800"/>
              <a:t>Wagdy </a:t>
            </a:r>
            <a:r>
              <a:rPr lang="en-ZA" sz="800" err="1"/>
              <a:t>Issac</a:t>
            </a:r>
            <a:r>
              <a:rPr lang="en-ZA" sz="800"/>
              <a:t>, </a:t>
            </a:r>
            <a:r>
              <a:rPr lang="en-ZA" sz="800" i="1"/>
              <a:t>Data Adoption Framework (2019)</a:t>
            </a:r>
          </a:p>
        </p:txBody>
      </p:sp>
    </p:spTree>
    <p:extLst>
      <p:ext uri="{BB962C8B-B14F-4D97-AF65-F5344CB8AC3E}">
        <p14:creationId xmlns:p14="http://schemas.microsoft.com/office/powerpoint/2010/main" val="2751210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77FBDF5-55B3-4E5B-A769-84A37F0C2D19}"/>
              </a:ext>
            </a:extLst>
          </p:cNvPr>
          <p:cNvSpPr>
            <a:spLocks noGrp="1"/>
          </p:cNvSpPr>
          <p:nvPr>
            <p:ph type="title"/>
          </p:nvPr>
        </p:nvSpPr>
        <p:spPr/>
        <p:txBody>
          <a:bodyPr/>
          <a:lstStyle/>
          <a:p>
            <a:r>
              <a:rPr lang="en-US" sz="2800">
                <a:solidFill>
                  <a:srgbClr val="00B0F0"/>
                </a:solidFill>
              </a:rPr>
              <a:t>Microsoft Azure is the only cloud provider to unify AI, BI, and Analytics creating accelerated time-to-insight </a:t>
            </a:r>
          </a:p>
        </p:txBody>
      </p:sp>
      <p:grpSp>
        <p:nvGrpSpPr>
          <p:cNvPr id="104" name="Group 103">
            <a:extLst>
              <a:ext uri="{FF2B5EF4-FFF2-40B4-BE49-F238E27FC236}">
                <a16:creationId xmlns:a16="http://schemas.microsoft.com/office/drawing/2014/main" id="{AB8590EF-EC6D-4FD7-8A6B-8FE08C7DFB46}"/>
              </a:ext>
            </a:extLst>
          </p:cNvPr>
          <p:cNvGrpSpPr/>
          <p:nvPr/>
        </p:nvGrpSpPr>
        <p:grpSpPr>
          <a:xfrm>
            <a:off x="4146790" y="2440853"/>
            <a:ext cx="3903646" cy="1485893"/>
            <a:chOff x="1621490" y="2508304"/>
            <a:chExt cx="8802663" cy="3350666"/>
          </a:xfrm>
          <a:noFill/>
        </p:grpSpPr>
        <p:sp>
          <p:nvSpPr>
            <p:cNvPr id="105" name="Freeform: Shape 104">
              <a:extLst>
                <a:ext uri="{FF2B5EF4-FFF2-40B4-BE49-F238E27FC236}">
                  <a16:creationId xmlns:a16="http://schemas.microsoft.com/office/drawing/2014/main" id="{CEDE0695-776C-4F86-A8E7-DD0298B0C4B7}"/>
                </a:ext>
              </a:extLst>
            </p:cNvPr>
            <p:cNvSpPr/>
            <p:nvPr/>
          </p:nvSpPr>
          <p:spPr bwMode="auto">
            <a:xfrm>
              <a:off x="1621490" y="2508304"/>
              <a:ext cx="5461298" cy="3350666"/>
            </a:xfrm>
            <a:custGeom>
              <a:avLst/>
              <a:gdLst>
                <a:gd name="connsiteX0" fmla="*/ 0 w 5461298"/>
                <a:gd name="connsiteY0" fmla="*/ 0 h 3350666"/>
                <a:gd name="connsiteX1" fmla="*/ 4328154 w 5461298"/>
                <a:gd name="connsiteY1" fmla="*/ 0 h 3350666"/>
                <a:gd name="connsiteX2" fmla="*/ 4328154 w 5461298"/>
                <a:gd name="connsiteY2" fmla="*/ 1522766 h 3350666"/>
                <a:gd name="connsiteX3" fmla="*/ 4350139 w 5461298"/>
                <a:gd name="connsiteY3" fmla="*/ 1530424 h 3350666"/>
                <a:gd name="connsiteX4" fmla="*/ 4395493 w 5461298"/>
                <a:gd name="connsiteY4" fmla="*/ 1530424 h 3350666"/>
                <a:gd name="connsiteX5" fmla="*/ 4418169 w 5461298"/>
                <a:gd name="connsiteY5" fmla="*/ 1530424 h 3350666"/>
                <a:gd name="connsiteX6" fmla="*/ 4576906 w 5461298"/>
                <a:gd name="connsiteY6" fmla="*/ 1417207 h 3350666"/>
                <a:gd name="connsiteX7" fmla="*/ 4962411 w 5461298"/>
                <a:gd name="connsiteY7" fmla="*/ 1213417 h 3350666"/>
                <a:gd name="connsiteX8" fmla="*/ 5461298 w 5461298"/>
                <a:gd name="connsiteY8" fmla="*/ 1756858 h 3350666"/>
                <a:gd name="connsiteX9" fmla="*/ 4962411 w 5461298"/>
                <a:gd name="connsiteY9" fmla="*/ 2300298 h 3350666"/>
                <a:gd name="connsiteX10" fmla="*/ 4576906 w 5461298"/>
                <a:gd name="connsiteY10" fmla="*/ 2096509 h 3350666"/>
                <a:gd name="connsiteX11" fmla="*/ 4395493 w 5461298"/>
                <a:gd name="connsiteY11" fmla="*/ 2005935 h 3350666"/>
                <a:gd name="connsiteX12" fmla="*/ 4328154 w 5461298"/>
                <a:gd name="connsiteY12" fmla="*/ 2005935 h 3350666"/>
                <a:gd name="connsiteX13" fmla="*/ 4328154 w 5461298"/>
                <a:gd name="connsiteY13" fmla="*/ 3350666 h 3350666"/>
                <a:gd name="connsiteX14" fmla="*/ 0 w 5461298"/>
                <a:gd name="connsiteY14" fmla="*/ 3350666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1298" h="3350666">
                  <a:moveTo>
                    <a:pt x="0" y="0"/>
                  </a:moveTo>
                  <a:lnTo>
                    <a:pt x="4328154" y="0"/>
                  </a:lnTo>
                  <a:lnTo>
                    <a:pt x="4328154" y="1522766"/>
                  </a:lnTo>
                  <a:lnTo>
                    <a:pt x="4350139" y="1530424"/>
                  </a:lnTo>
                  <a:cubicBezTo>
                    <a:pt x="4350139" y="1530424"/>
                    <a:pt x="4395493" y="1530424"/>
                    <a:pt x="4395493" y="1530424"/>
                  </a:cubicBezTo>
                  <a:cubicBezTo>
                    <a:pt x="4395493" y="1530424"/>
                    <a:pt x="4395493" y="1530424"/>
                    <a:pt x="4418169" y="1530424"/>
                  </a:cubicBezTo>
                  <a:cubicBezTo>
                    <a:pt x="4486199" y="1530424"/>
                    <a:pt x="4576906" y="1417207"/>
                    <a:pt x="4576906" y="1417207"/>
                  </a:cubicBezTo>
                  <a:cubicBezTo>
                    <a:pt x="4667612" y="1281347"/>
                    <a:pt x="4803673" y="1213417"/>
                    <a:pt x="4962411" y="1213417"/>
                  </a:cubicBezTo>
                  <a:cubicBezTo>
                    <a:pt x="5234530" y="1213417"/>
                    <a:pt x="5461298" y="1462494"/>
                    <a:pt x="5461298" y="1756858"/>
                  </a:cubicBezTo>
                  <a:cubicBezTo>
                    <a:pt x="5461298" y="2051221"/>
                    <a:pt x="5234530" y="2300298"/>
                    <a:pt x="4962411" y="2300298"/>
                  </a:cubicBezTo>
                  <a:cubicBezTo>
                    <a:pt x="4803673" y="2300298"/>
                    <a:pt x="4667612" y="2232369"/>
                    <a:pt x="4576906" y="2096509"/>
                  </a:cubicBezTo>
                  <a:cubicBezTo>
                    <a:pt x="4531552" y="2073866"/>
                    <a:pt x="4463522" y="2005935"/>
                    <a:pt x="4395493" y="2005935"/>
                  </a:cubicBezTo>
                  <a:lnTo>
                    <a:pt x="4328154" y="2005935"/>
                  </a:lnTo>
                  <a:lnTo>
                    <a:pt x="4328154" y="3350666"/>
                  </a:lnTo>
                  <a:lnTo>
                    <a:pt x="0" y="3350666"/>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106" name="Freeform: Shape 105">
              <a:extLst>
                <a:ext uri="{FF2B5EF4-FFF2-40B4-BE49-F238E27FC236}">
                  <a16:creationId xmlns:a16="http://schemas.microsoft.com/office/drawing/2014/main" id="{A37B39E1-36C2-4D5B-9A41-FAD9412DA798}"/>
                </a:ext>
              </a:extLst>
            </p:cNvPr>
            <p:cNvSpPr/>
            <p:nvPr/>
          </p:nvSpPr>
          <p:spPr bwMode="auto">
            <a:xfrm>
              <a:off x="6095999" y="2508304"/>
              <a:ext cx="4328154" cy="3350666"/>
            </a:xfrm>
            <a:custGeom>
              <a:avLst/>
              <a:gdLst>
                <a:gd name="connsiteX0" fmla="*/ 0 w 4328154"/>
                <a:gd name="connsiteY0" fmla="*/ 0 h 3350666"/>
                <a:gd name="connsiteX1" fmla="*/ 4328154 w 4328154"/>
                <a:gd name="connsiteY1" fmla="*/ 0 h 3350666"/>
                <a:gd name="connsiteX2" fmla="*/ 4328154 w 4328154"/>
                <a:gd name="connsiteY2" fmla="*/ 3350666 h 3350666"/>
                <a:gd name="connsiteX3" fmla="*/ 0 w 4328154"/>
                <a:gd name="connsiteY3" fmla="*/ 3350666 h 3350666"/>
                <a:gd name="connsiteX4" fmla="*/ 0 w 4328154"/>
                <a:gd name="connsiteY4" fmla="*/ 2133297 h 3350666"/>
                <a:gd name="connsiteX5" fmla="*/ 27743 w 4328154"/>
                <a:gd name="connsiteY5" fmla="*/ 2150642 h 3350666"/>
                <a:gd name="connsiteX6" fmla="*/ 483435 w 4328154"/>
                <a:gd name="connsiteY6" fmla="*/ 2391535 h 3350666"/>
                <a:gd name="connsiteX7" fmla="*/ 1073154 w 4328154"/>
                <a:gd name="connsiteY7" fmla="*/ 1749152 h 3350666"/>
                <a:gd name="connsiteX8" fmla="*/ 483435 w 4328154"/>
                <a:gd name="connsiteY8" fmla="*/ 1106769 h 3350666"/>
                <a:gd name="connsiteX9" fmla="*/ 27743 w 4328154"/>
                <a:gd name="connsiteY9" fmla="*/ 1347662 h 3350666"/>
                <a:gd name="connsiteX10" fmla="*/ 9733 w 4328154"/>
                <a:gd name="connsiteY10" fmla="*/ 1368573 h 3350666"/>
                <a:gd name="connsiteX11" fmla="*/ 0 w 4328154"/>
                <a:gd name="connsiteY11" fmla="*/ 1378381 h 335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154" h="3350666">
                  <a:moveTo>
                    <a:pt x="0" y="0"/>
                  </a:moveTo>
                  <a:lnTo>
                    <a:pt x="4328154" y="0"/>
                  </a:lnTo>
                  <a:lnTo>
                    <a:pt x="4328154" y="3350666"/>
                  </a:lnTo>
                  <a:lnTo>
                    <a:pt x="0" y="3350666"/>
                  </a:lnTo>
                  <a:lnTo>
                    <a:pt x="0" y="2133297"/>
                  </a:lnTo>
                  <a:lnTo>
                    <a:pt x="27743" y="2150642"/>
                  </a:lnTo>
                  <a:cubicBezTo>
                    <a:pt x="134964" y="2311238"/>
                    <a:pt x="295797" y="2391535"/>
                    <a:pt x="483435" y="2391535"/>
                  </a:cubicBezTo>
                  <a:cubicBezTo>
                    <a:pt x="805099" y="2391535"/>
                    <a:pt x="1073154" y="2097109"/>
                    <a:pt x="1073154" y="1749152"/>
                  </a:cubicBezTo>
                  <a:cubicBezTo>
                    <a:pt x="1073154" y="1401195"/>
                    <a:pt x="805099" y="1106769"/>
                    <a:pt x="483435" y="1106769"/>
                  </a:cubicBezTo>
                  <a:cubicBezTo>
                    <a:pt x="295797" y="1106769"/>
                    <a:pt x="134964" y="1187066"/>
                    <a:pt x="27743" y="1347662"/>
                  </a:cubicBezTo>
                  <a:cubicBezTo>
                    <a:pt x="27743" y="1347662"/>
                    <a:pt x="21041" y="1356027"/>
                    <a:pt x="9733" y="1368573"/>
                  </a:cubicBezTo>
                  <a:lnTo>
                    <a:pt x="0" y="1378381"/>
                  </a:lnTo>
                  <a:close/>
                </a:path>
              </a:pathLst>
            </a:custGeom>
            <a:grpFill/>
            <a:ln w="12700" cap="rnd">
              <a:noFill/>
              <a:miter lim="800000"/>
              <a:headEnd/>
              <a:tailEnd/>
            </a:ln>
            <a:effectLst>
              <a:outerShdw blurRad="254000" algn="tl" rotWithShape="0">
                <a:srgbClr val="0078D4">
                  <a:alpha val="70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107" name="3">
            <a:extLst>
              <a:ext uri="{FF2B5EF4-FFF2-40B4-BE49-F238E27FC236}">
                <a16:creationId xmlns:a16="http://schemas.microsoft.com/office/drawing/2014/main" id="{4CCE43F4-4223-45EB-830B-6DBF58EE86A0}"/>
              </a:ext>
            </a:extLst>
          </p:cNvPr>
          <p:cNvSpPr/>
          <p:nvPr/>
        </p:nvSpPr>
        <p:spPr bwMode="auto">
          <a:xfrm>
            <a:off x="2520237" y="2008213"/>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108" name="2">
            <a:extLst>
              <a:ext uri="{FF2B5EF4-FFF2-40B4-BE49-F238E27FC236}">
                <a16:creationId xmlns:a16="http://schemas.microsoft.com/office/drawing/2014/main" id="{7CB43FB3-A0E5-4E3E-9838-F3533DA1BBA9}"/>
              </a:ext>
            </a:extLst>
          </p:cNvPr>
          <p:cNvSpPr/>
          <p:nvPr/>
        </p:nvSpPr>
        <p:spPr bwMode="auto">
          <a:xfrm>
            <a:off x="2520237" y="2017357"/>
            <a:ext cx="7443216" cy="2430155"/>
          </a:xfrm>
          <a:prstGeom prst="rect">
            <a:avLst/>
          </a:prstGeom>
          <a:noFill/>
          <a:ln w="12700" cap="rnd">
            <a:solidFill>
              <a:srgbClr val="000000"/>
            </a:solidFill>
            <a:miter lim="800000"/>
            <a:headEnd/>
            <a:tailEnd/>
          </a:ln>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109" name="1">
            <a:extLst>
              <a:ext uri="{FF2B5EF4-FFF2-40B4-BE49-F238E27FC236}">
                <a16:creationId xmlns:a16="http://schemas.microsoft.com/office/drawing/2014/main" id="{417DECA5-4A97-4D58-91B7-676F47999AAD}"/>
              </a:ext>
            </a:extLst>
          </p:cNvPr>
          <p:cNvSpPr/>
          <p:nvPr/>
        </p:nvSpPr>
        <p:spPr bwMode="auto">
          <a:xfrm>
            <a:off x="2475818" y="2017294"/>
            <a:ext cx="7507224" cy="2500621"/>
          </a:xfrm>
          <a:prstGeom prst="rect">
            <a:avLst/>
          </a:prstGeom>
          <a:solidFill>
            <a:srgbClr val="000000"/>
          </a:solidFill>
          <a:ln w="12700" cap="rnd">
            <a:solidFill>
              <a:srgbClr val="000000"/>
            </a:solidFill>
            <a:miter lim="800000"/>
            <a:headEnd/>
            <a:tailEnd/>
          </a:ln>
          <a:effectLst>
            <a:outerShdw blurRad="254000" algn="tl" rotWithShape="0">
              <a:srgbClr val="0078D4">
                <a:alpha val="70000"/>
              </a:srgbClr>
            </a:outerShdw>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110" name="4">
            <a:extLst>
              <a:ext uri="{FF2B5EF4-FFF2-40B4-BE49-F238E27FC236}">
                <a16:creationId xmlns:a16="http://schemas.microsoft.com/office/drawing/2014/main" id="{0BA1002C-DF4F-450C-97F3-52AAF721D127}"/>
              </a:ext>
            </a:extLst>
          </p:cNvPr>
          <p:cNvSpPr/>
          <p:nvPr/>
        </p:nvSpPr>
        <p:spPr bwMode="auto">
          <a:xfrm>
            <a:off x="2475817" y="4475085"/>
            <a:ext cx="7507224" cy="1616271"/>
          </a:xfrm>
          <a:prstGeom prst="rect">
            <a:avLst/>
          </a:prstGeom>
          <a:solidFill>
            <a:srgbClr val="000000"/>
          </a:solidFill>
          <a:ln w="12700" cap="rnd">
            <a:solidFill>
              <a:srgbClr val="000000"/>
            </a:solidFill>
            <a:miter lim="800000"/>
            <a:headEnd/>
            <a:tailEnd/>
          </a:ln>
          <a:effectLst>
            <a:outerShdw blurRad="254000" algn="tl" rotWithShape="0">
              <a:srgbClr val="0078D4">
                <a:alpha val="70000"/>
              </a:srgbClr>
            </a:outerShdw>
          </a:effectLst>
        </p:spPr>
        <p:txBody>
          <a:bodyPr wrap="none"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111" name="Group 110">
            <a:extLst>
              <a:ext uri="{FF2B5EF4-FFF2-40B4-BE49-F238E27FC236}">
                <a16:creationId xmlns:a16="http://schemas.microsoft.com/office/drawing/2014/main" id="{B832368C-666A-4A78-8548-E72CD78721D9}"/>
              </a:ext>
            </a:extLst>
          </p:cNvPr>
          <p:cNvGrpSpPr/>
          <p:nvPr/>
        </p:nvGrpSpPr>
        <p:grpSpPr>
          <a:xfrm>
            <a:off x="217150" y="2689796"/>
            <a:ext cx="2465350" cy="2384106"/>
            <a:chOff x="866362" y="2689796"/>
            <a:chExt cx="2880083" cy="2384106"/>
          </a:xfrm>
        </p:grpSpPr>
        <p:sp>
          <p:nvSpPr>
            <p:cNvPr id="112" name="Rectangle 111">
              <a:extLst>
                <a:ext uri="{FF2B5EF4-FFF2-40B4-BE49-F238E27FC236}">
                  <a16:creationId xmlns:a16="http://schemas.microsoft.com/office/drawing/2014/main" id="{F3C61A04-3C47-4323-87AE-6E84673D14EC}"/>
                </a:ext>
              </a:extLst>
            </p:cNvPr>
            <p:cNvSpPr/>
            <p:nvPr/>
          </p:nvSpPr>
          <p:spPr bwMode="auto">
            <a:xfrm>
              <a:off x="1606104" y="3331670"/>
              <a:ext cx="1680164" cy="4584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400"/>
                </a:spcAft>
                <a:buClrTx/>
                <a:buSzTx/>
                <a:buFontTx/>
                <a:buNone/>
                <a:tabLst/>
                <a:defRPr/>
              </a:pPr>
              <a:r>
                <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Cloud data</a:t>
              </a:r>
            </a:p>
          </p:txBody>
        </p:sp>
        <p:sp>
          <p:nvSpPr>
            <p:cNvPr id="114" name="Rectangle 113">
              <a:extLst>
                <a:ext uri="{FF2B5EF4-FFF2-40B4-BE49-F238E27FC236}">
                  <a16:creationId xmlns:a16="http://schemas.microsoft.com/office/drawing/2014/main" id="{B4850EDC-CE85-41B9-BBB4-6ED7F05448ED}"/>
                </a:ext>
              </a:extLst>
            </p:cNvPr>
            <p:cNvSpPr/>
            <p:nvPr/>
          </p:nvSpPr>
          <p:spPr bwMode="auto">
            <a:xfrm>
              <a:off x="1606105" y="4615417"/>
              <a:ext cx="1680162" cy="4584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400"/>
                </a:spcAft>
                <a:buClrTx/>
                <a:buSzTx/>
                <a:buFontTx/>
                <a:buNone/>
                <a:tabLst/>
                <a:defRPr/>
              </a:pPr>
              <a:r>
                <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SaaS data</a:t>
              </a:r>
            </a:p>
          </p:txBody>
        </p:sp>
        <p:sp>
          <p:nvSpPr>
            <p:cNvPr id="115" name="Rectangle 114">
              <a:extLst>
                <a:ext uri="{FF2B5EF4-FFF2-40B4-BE49-F238E27FC236}">
                  <a16:creationId xmlns:a16="http://schemas.microsoft.com/office/drawing/2014/main" id="{BEBCB795-17D1-4B5C-8217-ACA2D1E75F5F}"/>
                </a:ext>
              </a:extLst>
            </p:cNvPr>
            <p:cNvSpPr/>
            <p:nvPr/>
          </p:nvSpPr>
          <p:spPr bwMode="auto">
            <a:xfrm>
              <a:off x="866362" y="2689796"/>
              <a:ext cx="2419906" cy="4584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400"/>
                </a:spcAft>
                <a:buClrTx/>
                <a:buSzTx/>
                <a:buFontTx/>
                <a:buNone/>
                <a:tabLst/>
                <a:defRPr/>
              </a:pPr>
              <a:r>
                <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On-premises data</a:t>
              </a:r>
            </a:p>
          </p:txBody>
        </p:sp>
        <p:sp>
          <p:nvSpPr>
            <p:cNvPr id="117" name="Rectangle 11">
              <a:extLst>
                <a:ext uri="{FF2B5EF4-FFF2-40B4-BE49-F238E27FC236}">
                  <a16:creationId xmlns:a16="http://schemas.microsoft.com/office/drawing/2014/main" id="{62118584-704F-4D3F-B70B-BC109B4F3A0F}"/>
                </a:ext>
              </a:extLst>
            </p:cNvPr>
            <p:cNvSpPr/>
            <p:nvPr/>
          </p:nvSpPr>
          <p:spPr bwMode="auto">
            <a:xfrm rot="5400000">
              <a:off x="2263483" y="3809029"/>
              <a:ext cx="1905174" cy="145640"/>
            </a:xfrm>
            <a:custGeom>
              <a:avLst/>
              <a:gdLst>
                <a:gd name="connsiteX0" fmla="*/ 0 w 510540"/>
                <a:gd name="connsiteY0" fmla="*/ 0 h 4404360"/>
                <a:gd name="connsiteX1" fmla="*/ 510540 w 510540"/>
                <a:gd name="connsiteY1" fmla="*/ 0 h 4404360"/>
                <a:gd name="connsiteX2" fmla="*/ 510540 w 510540"/>
                <a:gd name="connsiteY2" fmla="*/ 4404360 h 4404360"/>
                <a:gd name="connsiteX3" fmla="*/ 0 w 510540"/>
                <a:gd name="connsiteY3" fmla="*/ 4404360 h 4404360"/>
                <a:gd name="connsiteX4" fmla="*/ 0 w 510540"/>
                <a:gd name="connsiteY4" fmla="*/ 0 h 4404360"/>
                <a:gd name="connsiteX0" fmla="*/ 0 w 510540"/>
                <a:gd name="connsiteY0" fmla="*/ 4404360 h 4495800"/>
                <a:gd name="connsiteX1" fmla="*/ 0 w 510540"/>
                <a:gd name="connsiteY1" fmla="*/ 0 h 4495800"/>
                <a:gd name="connsiteX2" fmla="*/ 510540 w 510540"/>
                <a:gd name="connsiteY2" fmla="*/ 0 h 4495800"/>
                <a:gd name="connsiteX3" fmla="*/ 510540 w 510540"/>
                <a:gd name="connsiteY3" fmla="*/ 4404360 h 4495800"/>
                <a:gd name="connsiteX4" fmla="*/ 91440 w 510540"/>
                <a:gd name="connsiteY4" fmla="*/ 4495800 h 4495800"/>
                <a:gd name="connsiteX0" fmla="*/ 0 w 510540"/>
                <a:gd name="connsiteY0" fmla="*/ 4404360 h 4404360"/>
                <a:gd name="connsiteX1" fmla="*/ 0 w 510540"/>
                <a:gd name="connsiteY1" fmla="*/ 0 h 4404360"/>
                <a:gd name="connsiteX2" fmla="*/ 510540 w 510540"/>
                <a:gd name="connsiteY2" fmla="*/ 0 h 4404360"/>
                <a:gd name="connsiteX3" fmla="*/ 510540 w 510540"/>
                <a:gd name="connsiteY3" fmla="*/ 4404360 h 4404360"/>
              </a:gdLst>
              <a:ahLst/>
              <a:cxnLst>
                <a:cxn ang="0">
                  <a:pos x="connsiteX0" y="connsiteY0"/>
                </a:cxn>
                <a:cxn ang="0">
                  <a:pos x="connsiteX1" y="connsiteY1"/>
                </a:cxn>
                <a:cxn ang="0">
                  <a:pos x="connsiteX2" y="connsiteY2"/>
                </a:cxn>
                <a:cxn ang="0">
                  <a:pos x="connsiteX3" y="connsiteY3"/>
                </a:cxn>
              </a:cxnLst>
              <a:rect l="l" t="t" r="r" b="b"/>
              <a:pathLst>
                <a:path w="510540" h="4404360">
                  <a:moveTo>
                    <a:pt x="0" y="4404360"/>
                  </a:moveTo>
                  <a:lnTo>
                    <a:pt x="0" y="0"/>
                  </a:lnTo>
                  <a:lnTo>
                    <a:pt x="510540" y="0"/>
                  </a:lnTo>
                  <a:lnTo>
                    <a:pt x="510540" y="4404360"/>
                  </a:lnTo>
                </a:path>
              </a:pathLst>
            </a:custGeom>
            <a:noFill/>
            <a:ln w="19050" cap="flat" cmpd="sng" algn="ctr">
              <a:solidFill>
                <a:srgbClr val="FFFFFF"/>
              </a:solidFill>
              <a:prstDash val="solid"/>
              <a:miter lim="800000"/>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18" name="Straight Connector 117">
              <a:extLst>
                <a:ext uri="{FF2B5EF4-FFF2-40B4-BE49-F238E27FC236}">
                  <a16:creationId xmlns:a16="http://schemas.microsoft.com/office/drawing/2014/main" id="{0B263679-71F6-491E-AD61-437FC4BCEB72}"/>
                </a:ext>
              </a:extLst>
            </p:cNvPr>
            <p:cNvCxnSpPr>
              <a:cxnSpLocks/>
            </p:cNvCxnSpPr>
            <p:nvPr/>
          </p:nvCxnSpPr>
          <p:spPr>
            <a:xfrm>
              <a:off x="3278981" y="3881849"/>
              <a:ext cx="467464" cy="0"/>
            </a:xfrm>
            <a:prstGeom prst="line">
              <a:avLst/>
            </a:prstGeom>
            <a:noFill/>
            <a:ln w="19050" cap="flat" cmpd="sng" algn="ctr">
              <a:solidFill>
                <a:srgbClr val="FFFFFF"/>
              </a:solidFill>
              <a:prstDash val="solid"/>
              <a:miter lim="800000"/>
            </a:ln>
            <a:effectLst/>
          </p:spPr>
        </p:cxnSp>
        <p:sp>
          <p:nvSpPr>
            <p:cNvPr id="119" name="Rectangle 20">
              <a:extLst>
                <a:ext uri="{FF2B5EF4-FFF2-40B4-BE49-F238E27FC236}">
                  <a16:creationId xmlns:a16="http://schemas.microsoft.com/office/drawing/2014/main" id="{41C7A407-5F1C-4687-A173-60D4FF2A8975}"/>
                </a:ext>
              </a:extLst>
            </p:cNvPr>
            <p:cNvSpPr/>
            <p:nvPr/>
          </p:nvSpPr>
          <p:spPr bwMode="auto">
            <a:xfrm rot="8100000">
              <a:off x="3625880" y="3838800"/>
              <a:ext cx="101924" cy="101924"/>
            </a:xfrm>
            <a:custGeom>
              <a:avLst/>
              <a:gdLst>
                <a:gd name="connsiteX0" fmla="*/ 0 w 485775"/>
                <a:gd name="connsiteY0" fmla="*/ 0 h 485775"/>
                <a:gd name="connsiteX1" fmla="*/ 485775 w 485775"/>
                <a:gd name="connsiteY1" fmla="*/ 0 h 485775"/>
                <a:gd name="connsiteX2" fmla="*/ 485775 w 485775"/>
                <a:gd name="connsiteY2" fmla="*/ 485775 h 485775"/>
                <a:gd name="connsiteX3" fmla="*/ 0 w 485775"/>
                <a:gd name="connsiteY3" fmla="*/ 485775 h 485775"/>
                <a:gd name="connsiteX4" fmla="*/ 0 w 485775"/>
                <a:gd name="connsiteY4" fmla="*/ 0 h 485775"/>
                <a:gd name="connsiteX0" fmla="*/ 485775 w 577215"/>
                <a:gd name="connsiteY0" fmla="*/ 485775 h 577215"/>
                <a:gd name="connsiteX1" fmla="*/ 0 w 577215"/>
                <a:gd name="connsiteY1" fmla="*/ 485775 h 577215"/>
                <a:gd name="connsiteX2" fmla="*/ 0 w 577215"/>
                <a:gd name="connsiteY2" fmla="*/ 0 h 577215"/>
                <a:gd name="connsiteX3" fmla="*/ 485775 w 577215"/>
                <a:gd name="connsiteY3" fmla="*/ 0 h 577215"/>
                <a:gd name="connsiteX4" fmla="*/ 577215 w 577215"/>
                <a:gd name="connsiteY4" fmla="*/ 577215 h 577215"/>
                <a:gd name="connsiteX0" fmla="*/ 485775 w 485775"/>
                <a:gd name="connsiteY0" fmla="*/ 485775 h 485775"/>
                <a:gd name="connsiteX1" fmla="*/ 0 w 485775"/>
                <a:gd name="connsiteY1" fmla="*/ 485775 h 485775"/>
                <a:gd name="connsiteX2" fmla="*/ 0 w 485775"/>
                <a:gd name="connsiteY2" fmla="*/ 0 h 485775"/>
                <a:gd name="connsiteX3" fmla="*/ 485775 w 485775"/>
                <a:gd name="connsiteY3" fmla="*/ 0 h 485775"/>
                <a:gd name="connsiteX0" fmla="*/ 0 w 485775"/>
                <a:gd name="connsiteY0" fmla="*/ 485775 h 485775"/>
                <a:gd name="connsiteX1" fmla="*/ 0 w 485775"/>
                <a:gd name="connsiteY1" fmla="*/ 0 h 485775"/>
                <a:gd name="connsiteX2" fmla="*/ 485775 w 485775"/>
                <a:gd name="connsiteY2" fmla="*/ 0 h 485775"/>
              </a:gdLst>
              <a:ahLst/>
              <a:cxnLst>
                <a:cxn ang="0">
                  <a:pos x="connsiteX0" y="connsiteY0"/>
                </a:cxn>
                <a:cxn ang="0">
                  <a:pos x="connsiteX1" y="connsiteY1"/>
                </a:cxn>
                <a:cxn ang="0">
                  <a:pos x="connsiteX2" y="connsiteY2"/>
                </a:cxn>
              </a:cxnLst>
              <a:rect l="l" t="t" r="r" b="b"/>
              <a:pathLst>
                <a:path w="485775" h="485775">
                  <a:moveTo>
                    <a:pt x="0" y="485775"/>
                  </a:moveTo>
                  <a:lnTo>
                    <a:pt x="0" y="0"/>
                  </a:lnTo>
                  <a:lnTo>
                    <a:pt x="485775" y="0"/>
                  </a:lnTo>
                </a:path>
              </a:pathLst>
            </a:custGeom>
            <a:noFill/>
            <a:ln w="19050" cap="flat" cmpd="sng" algn="ctr">
              <a:solidFill>
                <a:srgbClr val="FFFFFF"/>
              </a:solidFill>
              <a:prstDash val="solid"/>
              <a:miter lim="800000"/>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Rectangle 119">
              <a:extLst>
                <a:ext uri="{FF2B5EF4-FFF2-40B4-BE49-F238E27FC236}">
                  <a16:creationId xmlns:a16="http://schemas.microsoft.com/office/drawing/2014/main" id="{359F32F4-66F3-462D-A507-98DA0D246187}"/>
                </a:ext>
              </a:extLst>
            </p:cNvPr>
            <p:cNvSpPr/>
            <p:nvPr/>
          </p:nvSpPr>
          <p:spPr bwMode="auto">
            <a:xfrm>
              <a:off x="1435655" y="3973544"/>
              <a:ext cx="1850612" cy="4584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400"/>
                </a:spcAft>
                <a:buClrTx/>
                <a:buSzTx/>
                <a:buFontTx/>
                <a:buNone/>
                <a:tabLst/>
                <a:defRPr/>
              </a:pPr>
              <a:r>
                <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Devices data</a:t>
              </a:r>
            </a:p>
          </p:txBody>
        </p:sp>
        <p:grpSp>
          <p:nvGrpSpPr>
            <p:cNvPr id="121" name="Group 120">
              <a:extLst>
                <a:ext uri="{FF2B5EF4-FFF2-40B4-BE49-F238E27FC236}">
                  <a16:creationId xmlns:a16="http://schemas.microsoft.com/office/drawing/2014/main" id="{A3066572-63E3-4DC4-8842-26146109E990}"/>
                </a:ext>
              </a:extLst>
            </p:cNvPr>
            <p:cNvGrpSpPr/>
            <p:nvPr/>
          </p:nvGrpSpPr>
          <p:grpSpPr>
            <a:xfrm>
              <a:off x="3157538" y="3560912"/>
              <a:ext cx="134937" cy="641874"/>
              <a:chOff x="3157538" y="3560912"/>
              <a:chExt cx="117419" cy="641874"/>
            </a:xfrm>
          </p:grpSpPr>
          <p:cxnSp>
            <p:nvCxnSpPr>
              <p:cNvPr id="122" name="Straight Connector 121">
                <a:extLst>
                  <a:ext uri="{FF2B5EF4-FFF2-40B4-BE49-F238E27FC236}">
                    <a16:creationId xmlns:a16="http://schemas.microsoft.com/office/drawing/2014/main" id="{BDC9D367-F0BA-4CED-BA86-FF3DD917EF87}"/>
                  </a:ext>
                </a:extLst>
              </p:cNvPr>
              <p:cNvCxnSpPr>
                <a:cxnSpLocks/>
              </p:cNvCxnSpPr>
              <p:nvPr/>
            </p:nvCxnSpPr>
            <p:spPr>
              <a:xfrm>
                <a:off x="3157538" y="3560912"/>
                <a:ext cx="117419" cy="0"/>
              </a:xfrm>
              <a:prstGeom prst="line">
                <a:avLst/>
              </a:prstGeom>
              <a:noFill/>
              <a:ln w="19050" cap="flat" cmpd="sng" algn="ctr">
                <a:solidFill>
                  <a:srgbClr val="FFFFFF"/>
                </a:solidFill>
                <a:prstDash val="solid"/>
                <a:miter lim="800000"/>
              </a:ln>
              <a:effectLst/>
            </p:spPr>
          </p:cxnSp>
          <p:cxnSp>
            <p:nvCxnSpPr>
              <p:cNvPr id="123" name="Straight Connector 122">
                <a:extLst>
                  <a:ext uri="{FF2B5EF4-FFF2-40B4-BE49-F238E27FC236}">
                    <a16:creationId xmlns:a16="http://schemas.microsoft.com/office/drawing/2014/main" id="{CD18C984-FADF-4651-871D-42B4DFC16B0E}"/>
                  </a:ext>
                </a:extLst>
              </p:cNvPr>
              <p:cNvCxnSpPr>
                <a:cxnSpLocks/>
              </p:cNvCxnSpPr>
              <p:nvPr/>
            </p:nvCxnSpPr>
            <p:spPr>
              <a:xfrm>
                <a:off x="3157538" y="4202786"/>
                <a:ext cx="117419" cy="0"/>
              </a:xfrm>
              <a:prstGeom prst="line">
                <a:avLst/>
              </a:prstGeom>
              <a:noFill/>
              <a:ln w="19050" cap="flat" cmpd="sng" algn="ctr">
                <a:solidFill>
                  <a:srgbClr val="FFFFFF"/>
                </a:solidFill>
                <a:prstDash val="solid"/>
                <a:miter lim="800000"/>
              </a:ln>
              <a:effectLst/>
            </p:spPr>
          </p:cxnSp>
        </p:grpSp>
      </p:grpSp>
      <p:pic>
        <p:nvPicPr>
          <p:cNvPr id="124" name="Graphic 123">
            <a:extLst>
              <a:ext uri="{FF2B5EF4-FFF2-40B4-BE49-F238E27FC236}">
                <a16:creationId xmlns:a16="http://schemas.microsoft.com/office/drawing/2014/main" id="{FA65DF72-54AD-4C08-8D90-298691B21E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37809" y="5136447"/>
            <a:ext cx="491319" cy="491319"/>
          </a:xfrm>
          <a:prstGeom prst="rect">
            <a:avLst/>
          </a:prstGeom>
        </p:spPr>
      </p:pic>
      <p:sp>
        <p:nvSpPr>
          <p:cNvPr id="125" name="Rectangle 124">
            <a:extLst>
              <a:ext uri="{FF2B5EF4-FFF2-40B4-BE49-F238E27FC236}">
                <a16:creationId xmlns:a16="http://schemas.microsoft.com/office/drawing/2014/main" id="{C309D6BA-5235-4694-A1D3-C2C6C23E999F}"/>
              </a:ext>
            </a:extLst>
          </p:cNvPr>
          <p:cNvSpPr/>
          <p:nvPr/>
        </p:nvSpPr>
        <p:spPr bwMode="auto">
          <a:xfrm>
            <a:off x="5393973" y="5248554"/>
            <a:ext cx="2546252" cy="3785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S PGothic" panose="020B0600070205080204" pitchFamily="34" charset="-128"/>
                <a:cs typeface="Segoe UI" panose="020B0502040204020203" pitchFamily="34" charset="0"/>
              </a:rPr>
              <a:t>Azure Data Lake Storage</a:t>
            </a:r>
          </a:p>
        </p:txBody>
      </p:sp>
      <p:sp>
        <p:nvSpPr>
          <p:cNvPr id="126" name="Synapse Analytics">
            <a:extLst>
              <a:ext uri="{FF2B5EF4-FFF2-40B4-BE49-F238E27FC236}">
                <a16:creationId xmlns:a16="http://schemas.microsoft.com/office/drawing/2014/main" id="{08B7B10C-5FF4-4F72-A026-CB5211F8131E}"/>
              </a:ext>
            </a:extLst>
          </p:cNvPr>
          <p:cNvSpPr txBox="1"/>
          <p:nvPr/>
        </p:nvSpPr>
        <p:spPr>
          <a:xfrm>
            <a:off x="4790919" y="3920567"/>
            <a:ext cx="2800703" cy="276999"/>
          </a:xfrm>
          <a:prstGeom prst="rect">
            <a:avLst/>
          </a:prstGeom>
        </p:spPr>
        <p:txBody>
          <a:bodyPr vert="horz" wrap="none" lIns="0" tIns="0" rIns="0" bIns="0" rtlCol="0" anchor="ctr">
            <a:spAutoFit/>
          </a:bodyPr>
          <a:lstStyle>
            <a:defPPr>
              <a:defRPr lang="en-US"/>
            </a:defPPr>
            <a:lvl1pPr marR="0" lvl="0" indent="0" algn="r" defTabSz="932754" fontAlgn="auto">
              <a:lnSpc>
                <a:spcPct val="90000"/>
              </a:lnSpc>
              <a:spcBef>
                <a:spcPts val="0"/>
              </a:spcBef>
              <a:spcAft>
                <a:spcPts val="0"/>
              </a:spcAft>
              <a:buClrTx/>
              <a:buSzPct val="90000"/>
              <a:buFont typeface="Wingdings" panose="05000000000000000000" pitchFamily="2" charset="2"/>
              <a:buNone/>
              <a:tabLst/>
              <a:defRPr kumimoji="0" sz="2200" b="0" i="0" u="none" strike="noStrike" cap="none" spc="0" normalizeH="0" baseline="0">
                <a:ln>
                  <a:noFill/>
                </a:ln>
                <a:gradFill>
                  <a:gsLst>
                    <a:gs pos="2913">
                      <a:srgbClr val="FFFFFF"/>
                    </a:gs>
                    <a:gs pos="24272">
                      <a:srgbClr val="FFFFFF"/>
                    </a:gs>
                  </a:gsLst>
                  <a:path path="shape">
                    <a:fillToRect l="50000" t="50000" r="50000" b="50000"/>
                  </a:path>
                </a:gradFill>
                <a:effectLst/>
                <a:uLnTx/>
                <a:uFillTx/>
                <a:latin typeface="Segoe UI Semibold" panose="020B0702040204020203" pitchFamily="34" charset="0"/>
                <a:cs typeface="Segoe UI Semibold" panose="020B07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Azure Synapse Analytics</a:t>
            </a:r>
          </a:p>
        </p:txBody>
      </p:sp>
      <p:sp>
        <p:nvSpPr>
          <p:cNvPr id="127" name="Store">
            <a:extLst>
              <a:ext uri="{FF2B5EF4-FFF2-40B4-BE49-F238E27FC236}">
                <a16:creationId xmlns:a16="http://schemas.microsoft.com/office/drawing/2014/main" id="{4A10223C-F3BB-4A9B-B3B5-DC69A25CA2CE}"/>
              </a:ext>
            </a:extLst>
          </p:cNvPr>
          <p:cNvSpPr/>
          <p:nvPr/>
        </p:nvSpPr>
        <p:spPr>
          <a:xfrm>
            <a:off x="5830491" y="4554635"/>
            <a:ext cx="72923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50E6FF">
                    <a:lumMod val="75000"/>
                  </a:srgbClr>
                </a:solidFill>
                <a:effectLst/>
                <a:uLnTx/>
                <a:uFillTx/>
                <a:latin typeface="Segoe UI Semibold"/>
                <a:ea typeface="+mn-ea"/>
                <a:cs typeface="Segoe UI" panose="020B0502040204020203" pitchFamily="34" charset="0"/>
              </a:rPr>
              <a:t>Store</a:t>
            </a:r>
            <a:endParaRPr kumimoji="0" lang="en-US" sz="1800" b="0" i="0" u="none" strike="noStrike" kern="0" cap="none" spc="0" normalizeH="0" baseline="0" noProof="0">
              <a:ln>
                <a:noFill/>
              </a:ln>
              <a:solidFill>
                <a:srgbClr val="50E6FF">
                  <a:lumMod val="75000"/>
                </a:srgbClr>
              </a:solidFill>
              <a:effectLst/>
              <a:uLnTx/>
              <a:uFillTx/>
              <a:latin typeface="Segoe UI"/>
              <a:ea typeface="+mn-ea"/>
              <a:cs typeface="+mn-cs"/>
            </a:endParaRPr>
          </a:p>
        </p:txBody>
      </p:sp>
      <p:grpSp>
        <p:nvGrpSpPr>
          <p:cNvPr id="128" name="Group 127">
            <a:extLst>
              <a:ext uri="{FF2B5EF4-FFF2-40B4-BE49-F238E27FC236}">
                <a16:creationId xmlns:a16="http://schemas.microsoft.com/office/drawing/2014/main" id="{271E8498-EDEB-4F89-94DB-075C87E78466}"/>
              </a:ext>
              <a:ext uri="{C183D7F6-B498-43B3-948B-1728B52AA6E4}">
                <adec:decorative xmlns:adec="http://schemas.microsoft.com/office/drawing/2017/decorative" val="1"/>
              </a:ext>
            </a:extLst>
          </p:cNvPr>
          <p:cNvGrpSpPr/>
          <p:nvPr/>
        </p:nvGrpSpPr>
        <p:grpSpPr>
          <a:xfrm>
            <a:off x="9678895" y="3830887"/>
            <a:ext cx="578615" cy="101924"/>
            <a:chOff x="9734668" y="3830887"/>
            <a:chExt cx="578615" cy="101924"/>
          </a:xfrm>
        </p:grpSpPr>
        <p:cxnSp>
          <p:nvCxnSpPr>
            <p:cNvPr id="129" name="Straight Connector 128">
              <a:extLst>
                <a:ext uri="{FF2B5EF4-FFF2-40B4-BE49-F238E27FC236}">
                  <a16:creationId xmlns:a16="http://schemas.microsoft.com/office/drawing/2014/main" id="{89D1650A-1B20-42B8-8DD0-1CB44176B642}"/>
                </a:ext>
              </a:extLst>
            </p:cNvPr>
            <p:cNvCxnSpPr>
              <a:cxnSpLocks/>
            </p:cNvCxnSpPr>
            <p:nvPr/>
          </p:nvCxnSpPr>
          <p:spPr>
            <a:xfrm flipH="1">
              <a:off x="9734668" y="3881849"/>
              <a:ext cx="578615" cy="0"/>
            </a:xfrm>
            <a:prstGeom prst="line">
              <a:avLst/>
            </a:prstGeom>
            <a:noFill/>
            <a:ln w="19050" cap="flat" cmpd="sng" algn="ctr">
              <a:solidFill>
                <a:srgbClr val="FFFFFF"/>
              </a:solidFill>
              <a:prstDash val="solid"/>
              <a:miter lim="800000"/>
            </a:ln>
            <a:effectLst/>
          </p:spPr>
        </p:cxnSp>
        <p:sp>
          <p:nvSpPr>
            <p:cNvPr id="130" name="Rectangle 20">
              <a:extLst>
                <a:ext uri="{FF2B5EF4-FFF2-40B4-BE49-F238E27FC236}">
                  <a16:creationId xmlns:a16="http://schemas.microsoft.com/office/drawing/2014/main" id="{C81D7E0B-F6A7-4253-9195-38F9B10BAEBA}"/>
                </a:ext>
              </a:extLst>
            </p:cNvPr>
            <p:cNvSpPr/>
            <p:nvPr/>
          </p:nvSpPr>
          <p:spPr bwMode="auto">
            <a:xfrm rot="18900000" flipH="1" flipV="1">
              <a:off x="10196598" y="3830887"/>
              <a:ext cx="101924" cy="101924"/>
            </a:xfrm>
            <a:custGeom>
              <a:avLst/>
              <a:gdLst>
                <a:gd name="connsiteX0" fmla="*/ 0 w 485775"/>
                <a:gd name="connsiteY0" fmla="*/ 0 h 485775"/>
                <a:gd name="connsiteX1" fmla="*/ 485775 w 485775"/>
                <a:gd name="connsiteY1" fmla="*/ 0 h 485775"/>
                <a:gd name="connsiteX2" fmla="*/ 485775 w 485775"/>
                <a:gd name="connsiteY2" fmla="*/ 485775 h 485775"/>
                <a:gd name="connsiteX3" fmla="*/ 0 w 485775"/>
                <a:gd name="connsiteY3" fmla="*/ 485775 h 485775"/>
                <a:gd name="connsiteX4" fmla="*/ 0 w 485775"/>
                <a:gd name="connsiteY4" fmla="*/ 0 h 485775"/>
                <a:gd name="connsiteX0" fmla="*/ 485775 w 577215"/>
                <a:gd name="connsiteY0" fmla="*/ 485775 h 577215"/>
                <a:gd name="connsiteX1" fmla="*/ 0 w 577215"/>
                <a:gd name="connsiteY1" fmla="*/ 485775 h 577215"/>
                <a:gd name="connsiteX2" fmla="*/ 0 w 577215"/>
                <a:gd name="connsiteY2" fmla="*/ 0 h 577215"/>
                <a:gd name="connsiteX3" fmla="*/ 485775 w 577215"/>
                <a:gd name="connsiteY3" fmla="*/ 0 h 577215"/>
                <a:gd name="connsiteX4" fmla="*/ 577215 w 577215"/>
                <a:gd name="connsiteY4" fmla="*/ 577215 h 577215"/>
                <a:gd name="connsiteX0" fmla="*/ 485775 w 485775"/>
                <a:gd name="connsiteY0" fmla="*/ 485775 h 485775"/>
                <a:gd name="connsiteX1" fmla="*/ 0 w 485775"/>
                <a:gd name="connsiteY1" fmla="*/ 485775 h 485775"/>
                <a:gd name="connsiteX2" fmla="*/ 0 w 485775"/>
                <a:gd name="connsiteY2" fmla="*/ 0 h 485775"/>
                <a:gd name="connsiteX3" fmla="*/ 485775 w 485775"/>
                <a:gd name="connsiteY3" fmla="*/ 0 h 485775"/>
                <a:gd name="connsiteX0" fmla="*/ 0 w 485775"/>
                <a:gd name="connsiteY0" fmla="*/ 485775 h 485775"/>
                <a:gd name="connsiteX1" fmla="*/ 0 w 485775"/>
                <a:gd name="connsiteY1" fmla="*/ 0 h 485775"/>
                <a:gd name="connsiteX2" fmla="*/ 485775 w 485775"/>
                <a:gd name="connsiteY2" fmla="*/ 0 h 485775"/>
              </a:gdLst>
              <a:ahLst/>
              <a:cxnLst>
                <a:cxn ang="0">
                  <a:pos x="connsiteX0" y="connsiteY0"/>
                </a:cxn>
                <a:cxn ang="0">
                  <a:pos x="connsiteX1" y="connsiteY1"/>
                </a:cxn>
                <a:cxn ang="0">
                  <a:pos x="connsiteX2" y="connsiteY2"/>
                </a:cxn>
              </a:cxnLst>
              <a:rect l="l" t="t" r="r" b="b"/>
              <a:pathLst>
                <a:path w="485775" h="485775">
                  <a:moveTo>
                    <a:pt x="0" y="485775"/>
                  </a:moveTo>
                  <a:lnTo>
                    <a:pt x="0" y="0"/>
                  </a:lnTo>
                  <a:lnTo>
                    <a:pt x="485775" y="0"/>
                  </a:lnTo>
                </a:path>
              </a:pathLst>
            </a:custGeom>
            <a:noFill/>
            <a:ln w="19050" cap="flat" cmpd="sng" algn="ctr">
              <a:solidFill>
                <a:srgbClr val="FFFFFF"/>
              </a:solidFill>
              <a:prstDash val="solid"/>
              <a:miter lim="800000"/>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31" name="Azure Machine Learning" descr="Azure Machine Learning">
            <a:extLst>
              <a:ext uri="{FF2B5EF4-FFF2-40B4-BE49-F238E27FC236}">
                <a16:creationId xmlns:a16="http://schemas.microsoft.com/office/drawing/2014/main" id="{9D20DB06-4814-4C33-A40D-075F7EC8D079}"/>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10868852" y="2322604"/>
            <a:ext cx="515450" cy="515446"/>
          </a:xfrm>
          <a:prstGeom prst="rect">
            <a:avLst/>
          </a:prstGeom>
        </p:spPr>
      </p:pic>
      <p:sp>
        <p:nvSpPr>
          <p:cNvPr id="132" name="empowering world's worker">
            <a:extLst>
              <a:ext uri="{FF2B5EF4-FFF2-40B4-BE49-F238E27FC236}">
                <a16:creationId xmlns:a16="http://schemas.microsoft.com/office/drawing/2014/main" id="{9459CAC0-5110-4F83-87BF-6B13E678FC12}"/>
              </a:ext>
            </a:extLst>
          </p:cNvPr>
          <p:cNvSpPr/>
          <p:nvPr/>
        </p:nvSpPr>
        <p:spPr bwMode="auto">
          <a:xfrm>
            <a:off x="10433375" y="2931835"/>
            <a:ext cx="1386405" cy="492443"/>
          </a:xfrm>
          <a:prstGeom prst="rect">
            <a:avLst/>
          </a:prstGeom>
        </p:spPr>
        <p:txBody>
          <a:bodyPr vert="horz" wrap="none" lIns="0" tIns="0" rIns="0" bIns="0" rtlCol="0" anchor="t">
            <a:sp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Azure Machine</a:t>
            </a:r>
            <a:b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b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 Learning </a:t>
            </a:r>
          </a:p>
        </p:txBody>
      </p:sp>
      <p:grpSp>
        <p:nvGrpSpPr>
          <p:cNvPr id="133" name="Group 132">
            <a:extLst>
              <a:ext uri="{FF2B5EF4-FFF2-40B4-BE49-F238E27FC236}">
                <a16:creationId xmlns:a16="http://schemas.microsoft.com/office/drawing/2014/main" id="{728AA9A2-EB31-4A9C-98E0-2D22E4AB8A66}"/>
              </a:ext>
            </a:extLst>
          </p:cNvPr>
          <p:cNvGrpSpPr/>
          <p:nvPr/>
        </p:nvGrpSpPr>
        <p:grpSpPr>
          <a:xfrm>
            <a:off x="10868155" y="3623966"/>
            <a:ext cx="516844" cy="392642"/>
            <a:chOff x="10632888" y="3546485"/>
            <a:chExt cx="599259" cy="455253"/>
          </a:xfrm>
          <a:solidFill>
            <a:schemeClr val="bg1"/>
          </a:solidFill>
        </p:grpSpPr>
        <p:sp>
          <p:nvSpPr>
            <p:cNvPr id="134" name="Freeform 13">
              <a:extLst>
                <a:ext uri="{FF2B5EF4-FFF2-40B4-BE49-F238E27FC236}">
                  <a16:creationId xmlns:a16="http://schemas.microsoft.com/office/drawing/2014/main" id="{C7C7C3FA-BBC1-4B10-A158-889ECA23A138}"/>
                </a:ext>
              </a:extLst>
            </p:cNvPr>
            <p:cNvSpPr>
              <a:spLocks/>
            </p:cNvSpPr>
            <p:nvPr/>
          </p:nvSpPr>
          <p:spPr bwMode="auto">
            <a:xfrm>
              <a:off x="10632888" y="3546485"/>
              <a:ext cx="599259" cy="394862"/>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5" name="Freeform 14">
              <a:extLst>
                <a:ext uri="{FF2B5EF4-FFF2-40B4-BE49-F238E27FC236}">
                  <a16:creationId xmlns:a16="http://schemas.microsoft.com/office/drawing/2014/main" id="{DE43D058-7479-4454-AF31-941EA8E0A301}"/>
                </a:ext>
              </a:extLst>
            </p:cNvPr>
            <p:cNvSpPr>
              <a:spLocks/>
            </p:cNvSpPr>
            <p:nvPr/>
          </p:nvSpPr>
          <p:spPr bwMode="auto">
            <a:xfrm>
              <a:off x="10744378" y="3860052"/>
              <a:ext cx="65036" cy="141686"/>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6" name="Freeform 15">
              <a:extLst>
                <a:ext uri="{FF2B5EF4-FFF2-40B4-BE49-F238E27FC236}">
                  <a16:creationId xmlns:a16="http://schemas.microsoft.com/office/drawing/2014/main" id="{3F916686-B7F2-4C3F-8496-1D88D6D0DECC}"/>
                </a:ext>
              </a:extLst>
            </p:cNvPr>
            <p:cNvSpPr>
              <a:spLocks/>
            </p:cNvSpPr>
            <p:nvPr/>
          </p:nvSpPr>
          <p:spPr bwMode="auto">
            <a:xfrm>
              <a:off x="10846577" y="3739271"/>
              <a:ext cx="67359" cy="262467"/>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7" name="Freeform 16">
              <a:extLst>
                <a:ext uri="{FF2B5EF4-FFF2-40B4-BE49-F238E27FC236}">
                  <a16:creationId xmlns:a16="http://schemas.microsoft.com/office/drawing/2014/main" id="{9AF16DB0-5826-48C0-A5B4-4B63AD65A53F}"/>
                </a:ext>
              </a:extLst>
            </p:cNvPr>
            <p:cNvSpPr>
              <a:spLocks/>
            </p:cNvSpPr>
            <p:nvPr/>
          </p:nvSpPr>
          <p:spPr bwMode="auto">
            <a:xfrm>
              <a:off x="11053298" y="3655653"/>
              <a:ext cx="67359" cy="346085"/>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138" name="Freeform 17">
              <a:extLst>
                <a:ext uri="{FF2B5EF4-FFF2-40B4-BE49-F238E27FC236}">
                  <a16:creationId xmlns:a16="http://schemas.microsoft.com/office/drawing/2014/main" id="{BE4DCB48-2EA1-4140-A94A-C9C1F32A221A}"/>
                </a:ext>
              </a:extLst>
            </p:cNvPr>
            <p:cNvSpPr>
              <a:spLocks/>
            </p:cNvSpPr>
            <p:nvPr/>
          </p:nvSpPr>
          <p:spPr bwMode="auto">
            <a:xfrm>
              <a:off x="10951099" y="3788048"/>
              <a:ext cx="65036" cy="213690"/>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139" name="Power BI">
            <a:extLst>
              <a:ext uri="{FF2B5EF4-FFF2-40B4-BE49-F238E27FC236}">
                <a16:creationId xmlns:a16="http://schemas.microsoft.com/office/drawing/2014/main" id="{8FAB0900-07F7-40D1-9EC8-236D7AF476F0}"/>
              </a:ext>
            </a:extLst>
          </p:cNvPr>
          <p:cNvSpPr/>
          <p:nvPr/>
        </p:nvSpPr>
        <p:spPr>
          <a:xfrm>
            <a:off x="10627851" y="4044019"/>
            <a:ext cx="997453" cy="338554"/>
          </a:xfrm>
          <a:prstGeom prst="rect">
            <a:avLst/>
          </a:prstGeom>
        </p:spPr>
        <p:txBody>
          <a:bodyPr wrap="non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Power BI</a:t>
            </a:r>
          </a:p>
        </p:txBody>
      </p:sp>
      <p:grpSp>
        <p:nvGrpSpPr>
          <p:cNvPr id="140" name="Group 139">
            <a:extLst>
              <a:ext uri="{FF2B5EF4-FFF2-40B4-BE49-F238E27FC236}">
                <a16:creationId xmlns:a16="http://schemas.microsoft.com/office/drawing/2014/main" id="{B029C714-3DB8-4286-9430-CB652B543FA0}"/>
              </a:ext>
            </a:extLst>
          </p:cNvPr>
          <p:cNvGrpSpPr/>
          <p:nvPr/>
        </p:nvGrpSpPr>
        <p:grpSpPr>
          <a:xfrm rot="10800000">
            <a:off x="9617370" y="2558413"/>
            <a:ext cx="644552" cy="128070"/>
            <a:chOff x="8883798" y="3908897"/>
            <a:chExt cx="465260" cy="92422"/>
          </a:xfrm>
        </p:grpSpPr>
        <p:cxnSp>
          <p:nvCxnSpPr>
            <p:cNvPr id="141" name="Straight Connector 140">
              <a:extLst>
                <a:ext uri="{FF2B5EF4-FFF2-40B4-BE49-F238E27FC236}">
                  <a16:creationId xmlns:a16="http://schemas.microsoft.com/office/drawing/2014/main" id="{C3EE503B-1B9D-4B77-A98D-547158DB26BA}"/>
                </a:ext>
              </a:extLst>
            </p:cNvPr>
            <p:cNvCxnSpPr>
              <a:cxnSpLocks/>
              <a:endCxn id="142" idx="1"/>
            </p:cNvCxnSpPr>
            <p:nvPr/>
          </p:nvCxnSpPr>
          <p:spPr>
            <a:xfrm>
              <a:off x="8883798" y="3954338"/>
              <a:ext cx="465260" cy="770"/>
            </a:xfrm>
            <a:prstGeom prst="line">
              <a:avLst/>
            </a:prstGeom>
            <a:noFill/>
            <a:ln w="19050" cap="flat" cmpd="sng" algn="ctr">
              <a:solidFill>
                <a:srgbClr val="FFFFFF"/>
              </a:solidFill>
              <a:prstDash val="solid"/>
              <a:miter lim="800000"/>
            </a:ln>
            <a:effectLst/>
          </p:spPr>
        </p:cxnSp>
        <p:sp>
          <p:nvSpPr>
            <p:cNvPr id="142" name="Rectangle 20">
              <a:extLst>
                <a:ext uri="{FF2B5EF4-FFF2-40B4-BE49-F238E27FC236}">
                  <a16:creationId xmlns:a16="http://schemas.microsoft.com/office/drawing/2014/main" id="{7867D404-A9BD-4698-B238-F523AB41ADCA}"/>
                </a:ext>
              </a:extLst>
            </p:cNvPr>
            <p:cNvSpPr/>
            <p:nvPr/>
          </p:nvSpPr>
          <p:spPr bwMode="auto">
            <a:xfrm rot="8100000">
              <a:off x="9237495" y="3908897"/>
              <a:ext cx="92422" cy="92422"/>
            </a:xfrm>
            <a:custGeom>
              <a:avLst/>
              <a:gdLst>
                <a:gd name="connsiteX0" fmla="*/ 0 w 485775"/>
                <a:gd name="connsiteY0" fmla="*/ 0 h 485775"/>
                <a:gd name="connsiteX1" fmla="*/ 485775 w 485775"/>
                <a:gd name="connsiteY1" fmla="*/ 0 h 485775"/>
                <a:gd name="connsiteX2" fmla="*/ 485775 w 485775"/>
                <a:gd name="connsiteY2" fmla="*/ 485775 h 485775"/>
                <a:gd name="connsiteX3" fmla="*/ 0 w 485775"/>
                <a:gd name="connsiteY3" fmla="*/ 485775 h 485775"/>
                <a:gd name="connsiteX4" fmla="*/ 0 w 485775"/>
                <a:gd name="connsiteY4" fmla="*/ 0 h 485775"/>
                <a:gd name="connsiteX0" fmla="*/ 485775 w 577215"/>
                <a:gd name="connsiteY0" fmla="*/ 485775 h 577215"/>
                <a:gd name="connsiteX1" fmla="*/ 0 w 577215"/>
                <a:gd name="connsiteY1" fmla="*/ 485775 h 577215"/>
                <a:gd name="connsiteX2" fmla="*/ 0 w 577215"/>
                <a:gd name="connsiteY2" fmla="*/ 0 h 577215"/>
                <a:gd name="connsiteX3" fmla="*/ 485775 w 577215"/>
                <a:gd name="connsiteY3" fmla="*/ 0 h 577215"/>
                <a:gd name="connsiteX4" fmla="*/ 577215 w 577215"/>
                <a:gd name="connsiteY4" fmla="*/ 577215 h 577215"/>
                <a:gd name="connsiteX0" fmla="*/ 485775 w 485775"/>
                <a:gd name="connsiteY0" fmla="*/ 485775 h 485775"/>
                <a:gd name="connsiteX1" fmla="*/ 0 w 485775"/>
                <a:gd name="connsiteY1" fmla="*/ 485775 h 485775"/>
                <a:gd name="connsiteX2" fmla="*/ 0 w 485775"/>
                <a:gd name="connsiteY2" fmla="*/ 0 h 485775"/>
                <a:gd name="connsiteX3" fmla="*/ 485775 w 485775"/>
                <a:gd name="connsiteY3" fmla="*/ 0 h 485775"/>
                <a:gd name="connsiteX0" fmla="*/ 0 w 485775"/>
                <a:gd name="connsiteY0" fmla="*/ 485775 h 485775"/>
                <a:gd name="connsiteX1" fmla="*/ 0 w 485775"/>
                <a:gd name="connsiteY1" fmla="*/ 0 h 485775"/>
                <a:gd name="connsiteX2" fmla="*/ 485775 w 485775"/>
                <a:gd name="connsiteY2" fmla="*/ 0 h 485775"/>
              </a:gdLst>
              <a:ahLst/>
              <a:cxnLst>
                <a:cxn ang="0">
                  <a:pos x="connsiteX0" y="connsiteY0"/>
                </a:cxn>
                <a:cxn ang="0">
                  <a:pos x="connsiteX1" y="connsiteY1"/>
                </a:cxn>
                <a:cxn ang="0">
                  <a:pos x="connsiteX2" y="connsiteY2"/>
                </a:cxn>
              </a:cxnLst>
              <a:rect l="l" t="t" r="r" b="b"/>
              <a:pathLst>
                <a:path w="485775" h="485775">
                  <a:moveTo>
                    <a:pt x="0" y="485775"/>
                  </a:moveTo>
                  <a:lnTo>
                    <a:pt x="0" y="0"/>
                  </a:lnTo>
                  <a:lnTo>
                    <a:pt x="485775" y="0"/>
                  </a:lnTo>
                </a:path>
              </a:pathLst>
            </a:custGeom>
            <a:noFill/>
            <a:ln w="19050" cap="flat" cmpd="sng" algn="ctr">
              <a:solidFill>
                <a:srgbClr val="FFFFFF"/>
              </a:solidFill>
              <a:prstDash val="solid"/>
              <a:miter lim="800000"/>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43" name="Picture 142" descr="A picture containing clock&#10;&#10;Description automatically generated">
            <a:extLst>
              <a:ext uri="{FF2B5EF4-FFF2-40B4-BE49-F238E27FC236}">
                <a16:creationId xmlns:a16="http://schemas.microsoft.com/office/drawing/2014/main" id="{BAE8BEBB-6C82-4F64-9E1A-45C6CED86C86}"/>
              </a:ext>
            </a:extLst>
          </p:cNvPr>
          <p:cNvPicPr>
            <a:picLocks noChangeAspect="1"/>
          </p:cNvPicPr>
          <p:nvPr/>
        </p:nvPicPr>
        <p:blipFill>
          <a:blip r:embed="rId6"/>
          <a:stretch>
            <a:fillRect/>
          </a:stretch>
        </p:blipFill>
        <p:spPr>
          <a:xfrm>
            <a:off x="5425069" y="2308502"/>
            <a:ext cx="1367572" cy="1367572"/>
          </a:xfrm>
          <a:prstGeom prst="rect">
            <a:avLst/>
          </a:prstGeom>
        </p:spPr>
      </p:pic>
    </p:spTree>
    <p:extLst>
      <p:ext uri="{BB962C8B-B14F-4D97-AF65-F5344CB8AC3E}">
        <p14:creationId xmlns:p14="http://schemas.microsoft.com/office/powerpoint/2010/main" val="234432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664CE-82CD-41E0-917A-7205BD5652BA}"/>
              </a:ext>
            </a:extLst>
          </p:cNvPr>
          <p:cNvSpPr>
            <a:spLocks noGrp="1"/>
          </p:cNvSpPr>
          <p:nvPr>
            <p:ph type="title"/>
          </p:nvPr>
        </p:nvSpPr>
        <p:spPr>
          <a:xfrm>
            <a:off x="585216" y="3033280"/>
            <a:ext cx="11018505" cy="498527"/>
          </a:xfrm>
        </p:spPr>
        <p:txBody>
          <a:bodyPr/>
          <a:lstStyle/>
          <a:p>
            <a:r>
              <a:rPr lang="en-US" b="1">
                <a:solidFill>
                  <a:srgbClr val="00B0F0"/>
                </a:solidFill>
              </a:rPr>
              <a:t>BI Solution Pattern I</a:t>
            </a:r>
          </a:p>
        </p:txBody>
      </p:sp>
      <p:sp>
        <p:nvSpPr>
          <p:cNvPr id="3" name="Text Placeholder 2">
            <a:extLst>
              <a:ext uri="{FF2B5EF4-FFF2-40B4-BE49-F238E27FC236}">
                <a16:creationId xmlns:a16="http://schemas.microsoft.com/office/drawing/2014/main" id="{62305E6A-D14A-4A8A-B672-75BD5F4C36FD}"/>
              </a:ext>
            </a:extLst>
          </p:cNvPr>
          <p:cNvSpPr>
            <a:spLocks noGrp="1"/>
          </p:cNvSpPr>
          <p:nvPr>
            <p:ph type="body" sz="quarter" idx="12"/>
          </p:nvPr>
        </p:nvSpPr>
        <p:spPr>
          <a:xfrm>
            <a:off x="585216" y="3648370"/>
            <a:ext cx="11018505" cy="362072"/>
          </a:xfrm>
        </p:spPr>
        <p:txBody>
          <a:bodyPr/>
          <a:lstStyle/>
          <a:p>
            <a:r>
              <a:rPr lang="en-US"/>
              <a:t>Data Models in Azure Synapse Analytics</a:t>
            </a:r>
          </a:p>
        </p:txBody>
      </p:sp>
    </p:spTree>
    <p:extLst>
      <p:ext uri="{BB962C8B-B14F-4D97-AF65-F5344CB8AC3E}">
        <p14:creationId xmlns:p14="http://schemas.microsoft.com/office/powerpoint/2010/main" val="10407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DC07-7F6D-4ADD-8C5A-0FC2D8B6FAE9}"/>
              </a:ext>
            </a:extLst>
          </p:cNvPr>
          <p:cNvSpPr>
            <a:spLocks noGrp="1"/>
          </p:cNvSpPr>
          <p:nvPr>
            <p:ph type="title"/>
          </p:nvPr>
        </p:nvSpPr>
        <p:spPr/>
        <p:txBody>
          <a:bodyPr/>
          <a:lstStyle/>
          <a:p>
            <a:r>
              <a:rPr lang="en-US" sz="2800"/>
              <a:t>Reference Architecture</a:t>
            </a:r>
          </a:p>
        </p:txBody>
      </p:sp>
      <p:grpSp>
        <p:nvGrpSpPr>
          <p:cNvPr id="21" name="Group 20">
            <a:extLst>
              <a:ext uri="{FF2B5EF4-FFF2-40B4-BE49-F238E27FC236}">
                <a16:creationId xmlns:a16="http://schemas.microsoft.com/office/drawing/2014/main" id="{46EF8EC8-1F30-4884-BA0D-A86D4E709D5F}"/>
              </a:ext>
            </a:extLst>
          </p:cNvPr>
          <p:cNvGrpSpPr/>
          <p:nvPr/>
        </p:nvGrpSpPr>
        <p:grpSpPr>
          <a:xfrm>
            <a:off x="1320945" y="980605"/>
            <a:ext cx="9284106" cy="5613624"/>
            <a:chOff x="426424" y="972813"/>
            <a:chExt cx="9284106" cy="5613624"/>
          </a:xfrm>
        </p:grpSpPr>
        <p:sp>
          <p:nvSpPr>
            <p:cNvPr id="342" name="Rectangle 341">
              <a:extLst>
                <a:ext uri="{FF2B5EF4-FFF2-40B4-BE49-F238E27FC236}">
                  <a16:creationId xmlns:a16="http://schemas.microsoft.com/office/drawing/2014/main" id="{6C84C8E9-F02B-4662-B8A1-9B5149D32C1F}"/>
                </a:ext>
              </a:extLst>
            </p:cNvPr>
            <p:cNvSpPr/>
            <p:nvPr/>
          </p:nvSpPr>
          <p:spPr bwMode="auto">
            <a:xfrm>
              <a:off x="7738136" y="988670"/>
              <a:ext cx="1821251" cy="4682201"/>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3F26284E-287C-45CE-BE3B-9A9150294051}"/>
                </a:ext>
              </a:extLst>
            </p:cNvPr>
            <p:cNvSpPr/>
            <p:nvPr/>
          </p:nvSpPr>
          <p:spPr bwMode="auto">
            <a:xfrm>
              <a:off x="4969208" y="978966"/>
              <a:ext cx="2037497" cy="4673735"/>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AA71F304-2FE3-4257-82D7-6CD0854697D8}"/>
                </a:ext>
              </a:extLst>
            </p:cNvPr>
            <p:cNvSpPr/>
            <p:nvPr/>
          </p:nvSpPr>
          <p:spPr bwMode="auto">
            <a:xfrm>
              <a:off x="2632613" y="972813"/>
              <a:ext cx="1727581" cy="4679888"/>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TextBox 345">
              <a:extLst>
                <a:ext uri="{FF2B5EF4-FFF2-40B4-BE49-F238E27FC236}">
                  <a16:creationId xmlns:a16="http://schemas.microsoft.com/office/drawing/2014/main" id="{9E17F711-7062-4294-9FE1-915D558C5AF2}"/>
                </a:ext>
              </a:extLst>
            </p:cNvPr>
            <p:cNvSpPr txBox="1"/>
            <p:nvPr/>
          </p:nvSpPr>
          <p:spPr>
            <a:xfrm>
              <a:off x="864800" y="2173698"/>
              <a:ext cx="1045736"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Logs (unstructured)</a:t>
              </a:r>
            </a:p>
          </p:txBody>
        </p:sp>
        <p:sp>
          <p:nvSpPr>
            <p:cNvPr id="347" name="TextBox 346">
              <a:extLst>
                <a:ext uri="{FF2B5EF4-FFF2-40B4-BE49-F238E27FC236}">
                  <a16:creationId xmlns:a16="http://schemas.microsoft.com/office/drawing/2014/main" id="{F5AA7A59-428F-44A9-836E-9C3D7B6B3F81}"/>
                </a:ext>
              </a:extLst>
            </p:cNvPr>
            <p:cNvSpPr txBox="1"/>
            <p:nvPr/>
          </p:nvSpPr>
          <p:spPr>
            <a:xfrm>
              <a:off x="864800" y="2997372"/>
              <a:ext cx="1129729"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Media (unstructured)</a:t>
              </a:r>
            </a:p>
          </p:txBody>
        </p:sp>
        <p:sp>
          <p:nvSpPr>
            <p:cNvPr id="348" name="TextBox 347">
              <a:extLst>
                <a:ext uri="{FF2B5EF4-FFF2-40B4-BE49-F238E27FC236}">
                  <a16:creationId xmlns:a16="http://schemas.microsoft.com/office/drawing/2014/main" id="{5C4546D2-C4DC-48A5-A403-E8B3429D4841}"/>
                </a:ext>
              </a:extLst>
            </p:cNvPr>
            <p:cNvSpPr txBox="1"/>
            <p:nvPr/>
          </p:nvSpPr>
          <p:spPr>
            <a:xfrm>
              <a:off x="864799" y="3821046"/>
              <a:ext cx="1026647"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Files (unstructured)</a:t>
              </a:r>
            </a:p>
          </p:txBody>
        </p:sp>
        <p:sp>
          <p:nvSpPr>
            <p:cNvPr id="349" name="TextBox 348">
              <a:extLst>
                <a:ext uri="{FF2B5EF4-FFF2-40B4-BE49-F238E27FC236}">
                  <a16:creationId xmlns:a16="http://schemas.microsoft.com/office/drawing/2014/main" id="{2EAA7EEA-DE89-47F6-89AC-F638F2EF3095}"/>
                </a:ext>
              </a:extLst>
            </p:cNvPr>
            <p:cNvSpPr txBox="1"/>
            <p:nvPr/>
          </p:nvSpPr>
          <p:spPr>
            <a:xfrm>
              <a:off x="864799" y="4561621"/>
              <a:ext cx="997441" cy="498598"/>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Business/</a:t>
              </a:r>
              <a:br>
                <a:rPr lang="en-US" sz="1200">
                  <a:gradFill>
                    <a:gsLst>
                      <a:gs pos="2917">
                        <a:srgbClr val="1A1A1A"/>
                      </a:gs>
                      <a:gs pos="30000">
                        <a:srgbClr val="1A1A1A"/>
                      </a:gs>
                    </a:gsLst>
                    <a:lin ang="5400000" scaled="0"/>
                  </a:gradFill>
                  <a:latin typeface="Segoe UI Semibold"/>
                </a:rPr>
              </a:br>
              <a:r>
                <a:rPr lang="en-US" sz="1200">
                  <a:gradFill>
                    <a:gsLst>
                      <a:gs pos="2917">
                        <a:srgbClr val="1A1A1A"/>
                      </a:gs>
                      <a:gs pos="30000">
                        <a:srgbClr val="1A1A1A"/>
                      </a:gs>
                    </a:gsLst>
                    <a:lin ang="5400000" scaled="0"/>
                  </a:gradFill>
                  <a:latin typeface="Segoe UI Semibold"/>
                </a:rPr>
                <a:t>custom apps </a:t>
              </a:r>
              <a:br>
                <a:rPr lang="en-US" sz="1200">
                  <a:gradFill>
                    <a:gsLst>
                      <a:gs pos="2917">
                        <a:srgbClr val="1A1A1A"/>
                      </a:gs>
                      <a:gs pos="30000">
                        <a:srgbClr val="1A1A1A"/>
                      </a:gs>
                    </a:gsLst>
                    <a:lin ang="5400000" scaled="0"/>
                  </a:gradFill>
                  <a:latin typeface="Segoe UI Semibold"/>
                </a:rPr>
              </a:br>
              <a:r>
                <a:rPr lang="en-US" sz="1200">
                  <a:gradFill>
                    <a:gsLst>
                      <a:gs pos="2917">
                        <a:srgbClr val="1A1A1A"/>
                      </a:gs>
                      <a:gs pos="30000">
                        <a:srgbClr val="1A1A1A"/>
                      </a:gs>
                    </a:gsLst>
                    <a:lin ang="5400000" scaled="0"/>
                  </a:gradFill>
                  <a:latin typeface="Segoe UI Semibold"/>
                </a:rPr>
                <a:t>(structured)</a:t>
              </a:r>
            </a:p>
          </p:txBody>
        </p:sp>
        <p:sp>
          <p:nvSpPr>
            <p:cNvPr id="350" name="PhotoCollection_E7AA" title="Icon of a stacked photo of a landscape">
              <a:extLst>
                <a:ext uri="{FF2B5EF4-FFF2-40B4-BE49-F238E27FC236}">
                  <a16:creationId xmlns:a16="http://schemas.microsoft.com/office/drawing/2014/main" id="{BFF68636-5473-4CBD-BC9F-29D77860453F}"/>
                </a:ext>
              </a:extLst>
            </p:cNvPr>
            <p:cNvSpPr>
              <a:spLocks noChangeAspect="1" noEditPoints="1"/>
            </p:cNvSpPr>
            <p:nvPr/>
          </p:nvSpPr>
          <p:spPr bwMode="auto">
            <a:xfrm>
              <a:off x="426424" y="3038663"/>
              <a:ext cx="326956" cy="24981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1" name="Copy_E8C8" title="Icon of two documents stacked together">
              <a:extLst>
                <a:ext uri="{FF2B5EF4-FFF2-40B4-BE49-F238E27FC236}">
                  <a16:creationId xmlns:a16="http://schemas.microsoft.com/office/drawing/2014/main" id="{01CB3020-2732-42A8-8316-D2B8EF6BA964}"/>
                </a:ext>
              </a:extLst>
            </p:cNvPr>
            <p:cNvSpPr>
              <a:spLocks noChangeAspect="1" noEditPoints="1"/>
            </p:cNvSpPr>
            <p:nvPr/>
          </p:nvSpPr>
          <p:spPr bwMode="auto">
            <a:xfrm>
              <a:off x="458896" y="3836106"/>
              <a:ext cx="262012" cy="302281"/>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2" name="Browser_2" title="Icon of a browser window with a home symbol inside">
              <a:extLst>
                <a:ext uri="{FF2B5EF4-FFF2-40B4-BE49-F238E27FC236}">
                  <a16:creationId xmlns:a16="http://schemas.microsoft.com/office/drawing/2014/main" id="{98D5CDF0-4EF0-42BD-A812-FC6326C8856E}"/>
                </a:ext>
              </a:extLst>
            </p:cNvPr>
            <p:cNvSpPr>
              <a:spLocks noChangeAspect="1" noEditPoints="1"/>
            </p:cNvSpPr>
            <p:nvPr/>
          </p:nvSpPr>
          <p:spPr bwMode="auto">
            <a:xfrm>
              <a:off x="428287" y="4673520"/>
              <a:ext cx="323231" cy="274801"/>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3" name="Script_F03A" title="Icon of an unrolled document with writing on it">
              <a:extLst>
                <a:ext uri="{FF2B5EF4-FFF2-40B4-BE49-F238E27FC236}">
                  <a16:creationId xmlns:a16="http://schemas.microsoft.com/office/drawing/2014/main" id="{D6C6E50E-E1A5-4131-989A-2BEA5C62D2E7}"/>
                </a:ext>
              </a:extLst>
            </p:cNvPr>
            <p:cNvSpPr>
              <a:spLocks noChangeAspect="1" noEditPoints="1"/>
            </p:cNvSpPr>
            <p:nvPr/>
          </p:nvSpPr>
          <p:spPr bwMode="auto">
            <a:xfrm>
              <a:off x="438835" y="2188758"/>
              <a:ext cx="302135" cy="302281"/>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4" name="Right Bracket 353">
              <a:extLst>
                <a:ext uri="{FF2B5EF4-FFF2-40B4-BE49-F238E27FC236}">
                  <a16:creationId xmlns:a16="http://schemas.microsoft.com/office/drawing/2014/main" id="{D947E78A-4EA2-4BEE-846F-D3AFCAB285D8}"/>
                </a:ext>
              </a:extLst>
            </p:cNvPr>
            <p:cNvSpPr/>
            <p:nvPr/>
          </p:nvSpPr>
          <p:spPr>
            <a:xfrm>
              <a:off x="1772936" y="1583235"/>
              <a:ext cx="169190" cy="3737560"/>
            </a:xfrm>
            <a:prstGeom prst="rightBracket">
              <a:avLst>
                <a:gd name="adj" fmla="val 0"/>
              </a:avLst>
            </a:prstGeom>
            <a:noFill/>
            <a:ln w="19050" cap="flat" cmpd="sng" algn="ctr">
              <a:solidFill>
                <a:srgbClr val="0078D4"/>
              </a:solidFill>
              <a:prstDash val="solid"/>
              <a:headEnd type="none" w="lg" len="med"/>
              <a:tailEnd type="none" w="lg"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cxnSp>
          <p:nvCxnSpPr>
            <p:cNvPr id="355" name="Straight Arrow Connector 354">
              <a:extLst>
                <a:ext uri="{FF2B5EF4-FFF2-40B4-BE49-F238E27FC236}">
                  <a16:creationId xmlns:a16="http://schemas.microsoft.com/office/drawing/2014/main" id="{6B5726F5-DF5B-4A1C-995F-7D4CA8FB7A1B}"/>
                </a:ext>
              </a:extLst>
            </p:cNvPr>
            <p:cNvCxnSpPr>
              <a:cxnSpLocks/>
            </p:cNvCxnSpPr>
            <p:nvPr/>
          </p:nvCxnSpPr>
          <p:spPr>
            <a:xfrm>
              <a:off x="1942126" y="3173847"/>
              <a:ext cx="632109" cy="0"/>
            </a:xfrm>
            <a:prstGeom prst="straightConnector1">
              <a:avLst/>
            </a:prstGeom>
            <a:noFill/>
            <a:ln w="19050" cap="flat" cmpd="sng" algn="ctr">
              <a:solidFill>
                <a:srgbClr val="0078D4"/>
              </a:solidFill>
              <a:prstDash val="solid"/>
              <a:headEnd type="none" w="lg" len="med"/>
              <a:tailEnd type="arrow" w="lg" len="sm"/>
            </a:ln>
            <a:effectLst/>
          </p:spPr>
        </p:cxnSp>
        <p:sp>
          <p:nvSpPr>
            <p:cNvPr id="359" name="TextBox 358">
              <a:extLst>
                <a:ext uri="{FF2B5EF4-FFF2-40B4-BE49-F238E27FC236}">
                  <a16:creationId xmlns:a16="http://schemas.microsoft.com/office/drawing/2014/main" id="{36F97A8A-23D5-4138-A19D-85D92522A932}"/>
                </a:ext>
              </a:extLst>
            </p:cNvPr>
            <p:cNvSpPr txBox="1"/>
            <p:nvPr/>
          </p:nvSpPr>
          <p:spPr>
            <a:xfrm>
              <a:off x="2394391" y="1164591"/>
              <a:ext cx="2188904"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Storage</a:t>
              </a:r>
            </a:p>
          </p:txBody>
        </p:sp>
        <p:sp>
          <p:nvSpPr>
            <p:cNvPr id="361" name="TextBox 360">
              <a:extLst>
                <a:ext uri="{FF2B5EF4-FFF2-40B4-BE49-F238E27FC236}">
                  <a16:creationId xmlns:a16="http://schemas.microsoft.com/office/drawing/2014/main" id="{D51780CF-895F-490B-86CE-713871096CB7}"/>
                </a:ext>
              </a:extLst>
            </p:cNvPr>
            <p:cNvSpPr txBox="1"/>
            <p:nvPr/>
          </p:nvSpPr>
          <p:spPr>
            <a:xfrm>
              <a:off x="5419581" y="1164591"/>
              <a:ext cx="1090150"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Serving</a:t>
              </a:r>
            </a:p>
          </p:txBody>
        </p:sp>
        <p:grpSp>
          <p:nvGrpSpPr>
            <p:cNvPr id="362" name="Group 361">
              <a:extLst>
                <a:ext uri="{FF2B5EF4-FFF2-40B4-BE49-F238E27FC236}">
                  <a16:creationId xmlns:a16="http://schemas.microsoft.com/office/drawing/2014/main" id="{28736625-BBE1-45B5-9819-03634FD4D4ED}"/>
                </a:ext>
              </a:extLst>
            </p:cNvPr>
            <p:cNvGrpSpPr/>
            <p:nvPr/>
          </p:nvGrpSpPr>
          <p:grpSpPr>
            <a:xfrm>
              <a:off x="7571600" y="6192395"/>
              <a:ext cx="427888" cy="365043"/>
              <a:chOff x="8436858" y="2535046"/>
              <a:chExt cx="1539405" cy="1630683"/>
            </a:xfrm>
            <a:noFill/>
          </p:grpSpPr>
          <p:sp>
            <p:nvSpPr>
              <p:cNvPr id="363" name="Freeform 764">
                <a:extLst>
                  <a:ext uri="{FF2B5EF4-FFF2-40B4-BE49-F238E27FC236}">
                    <a16:creationId xmlns:a16="http://schemas.microsoft.com/office/drawing/2014/main" id="{138DC8A3-BA69-47AD-8929-4D4D7F9DE524}"/>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364" name="Freeform 785">
                <a:extLst>
                  <a:ext uri="{FF2B5EF4-FFF2-40B4-BE49-F238E27FC236}">
                    <a16:creationId xmlns:a16="http://schemas.microsoft.com/office/drawing/2014/main" id="{9F8E9137-AD3C-4294-AA41-56FF8940BE7F}"/>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rgbClr val="243A5E"/>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grpSp>
        <p:grpSp>
          <p:nvGrpSpPr>
            <p:cNvPr id="365" name="Group 364">
              <a:extLst>
                <a:ext uri="{FF2B5EF4-FFF2-40B4-BE49-F238E27FC236}">
                  <a16:creationId xmlns:a16="http://schemas.microsoft.com/office/drawing/2014/main" id="{BA8EFDAD-17AD-4C3B-84A1-056D1FA1E4E7}"/>
                </a:ext>
              </a:extLst>
            </p:cNvPr>
            <p:cNvGrpSpPr/>
            <p:nvPr/>
          </p:nvGrpSpPr>
          <p:grpSpPr>
            <a:xfrm>
              <a:off x="2111333" y="5869745"/>
              <a:ext cx="7599197" cy="360828"/>
              <a:chOff x="457200" y="5592008"/>
              <a:chExt cx="11273952" cy="352842"/>
            </a:xfrm>
          </p:grpSpPr>
          <p:sp>
            <p:nvSpPr>
              <p:cNvPr id="366" name="Freeform 230">
                <a:extLst>
                  <a:ext uri="{FF2B5EF4-FFF2-40B4-BE49-F238E27FC236}">
                    <a16:creationId xmlns:a16="http://schemas.microsoft.com/office/drawing/2014/main" id="{ED738AC4-1663-4F63-B6C7-F1BDCC7DD29C}"/>
                  </a:ext>
                </a:extLst>
              </p:cNvPr>
              <p:cNvSpPr/>
              <p:nvPr/>
            </p:nvSpPr>
            <p:spPr bwMode="auto">
              <a:xfrm>
                <a:off x="457200" y="5592008"/>
                <a:ext cx="11273952" cy="118937"/>
              </a:xfrm>
              <a:custGeom>
                <a:avLst/>
                <a:gdLst>
                  <a:gd name="connsiteX0" fmla="*/ 0 w 6119446"/>
                  <a:gd name="connsiteY0" fmla="*/ 0 h 464234"/>
                  <a:gd name="connsiteX1" fmla="*/ 0 w 6119446"/>
                  <a:gd name="connsiteY1" fmla="*/ 464234 h 464234"/>
                  <a:gd name="connsiteX2" fmla="*/ 6119446 w 6119446"/>
                  <a:gd name="connsiteY2" fmla="*/ 464234 h 464234"/>
                  <a:gd name="connsiteX3" fmla="*/ 6119446 w 6119446"/>
                  <a:gd name="connsiteY3" fmla="*/ 14068 h 464234"/>
                </a:gdLst>
                <a:ahLst/>
                <a:cxnLst>
                  <a:cxn ang="0">
                    <a:pos x="connsiteX0" y="connsiteY0"/>
                  </a:cxn>
                  <a:cxn ang="0">
                    <a:pos x="connsiteX1" y="connsiteY1"/>
                  </a:cxn>
                  <a:cxn ang="0">
                    <a:pos x="connsiteX2" y="connsiteY2"/>
                  </a:cxn>
                  <a:cxn ang="0">
                    <a:pos x="connsiteX3" y="connsiteY3"/>
                  </a:cxn>
                </a:cxnLst>
                <a:rect l="l" t="t" r="r" b="b"/>
                <a:pathLst>
                  <a:path w="6119446" h="464234">
                    <a:moveTo>
                      <a:pt x="0" y="0"/>
                    </a:moveTo>
                    <a:lnTo>
                      <a:pt x="0" y="464234"/>
                    </a:lnTo>
                    <a:lnTo>
                      <a:pt x="6119446" y="464234"/>
                    </a:lnTo>
                    <a:lnTo>
                      <a:pt x="6119446" y="14068"/>
                    </a:lnTo>
                  </a:path>
                </a:pathLst>
              </a:custGeom>
              <a:noFill/>
              <a:ln w="12700" cap="rnd" cmpd="sng" algn="ctr">
                <a:solidFill>
                  <a:srgbClr val="000000"/>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367" name="Straight Connector 366">
                <a:extLst>
                  <a:ext uri="{FF2B5EF4-FFF2-40B4-BE49-F238E27FC236}">
                    <a16:creationId xmlns:a16="http://schemas.microsoft.com/office/drawing/2014/main" id="{4FD553A7-9AA8-4E11-B004-CF20C43D6A54}"/>
                  </a:ext>
                </a:extLst>
              </p:cNvPr>
              <p:cNvCxnSpPr/>
              <p:nvPr/>
            </p:nvCxnSpPr>
            <p:spPr>
              <a:xfrm>
                <a:off x="6096000" y="5710947"/>
                <a:ext cx="0" cy="233903"/>
              </a:xfrm>
              <a:prstGeom prst="line">
                <a:avLst/>
              </a:prstGeom>
              <a:noFill/>
              <a:ln w="12700" cap="flat" cmpd="sng" algn="ctr">
                <a:solidFill>
                  <a:srgbClr val="000000"/>
                </a:solidFill>
                <a:prstDash val="solid"/>
                <a:headEnd type="none"/>
                <a:tailEnd type="triangle"/>
              </a:ln>
              <a:effectLst/>
            </p:spPr>
          </p:cxnSp>
        </p:grpSp>
        <p:sp>
          <p:nvSpPr>
            <p:cNvPr id="368" name="Rectangle 367">
              <a:extLst>
                <a:ext uri="{FF2B5EF4-FFF2-40B4-BE49-F238E27FC236}">
                  <a16:creationId xmlns:a16="http://schemas.microsoft.com/office/drawing/2014/main" id="{202D8931-5F0E-46B7-A7EE-4BAA1614FDE1}"/>
                </a:ext>
              </a:extLst>
            </p:cNvPr>
            <p:cNvSpPr/>
            <p:nvPr/>
          </p:nvSpPr>
          <p:spPr>
            <a:xfrm>
              <a:off x="2815168" y="6300205"/>
              <a:ext cx="6096000" cy="286232"/>
            </a:xfrm>
            <a:prstGeom prst="rect">
              <a:avLst/>
            </a:prstGeom>
          </p:spPr>
          <p:txBody>
            <a:bodyPr>
              <a:spAutoFit/>
            </a:bodyPr>
            <a:lstStyle/>
            <a:p>
              <a:pPr algn="ctr" defTabSz="914102" fontAlgn="base">
                <a:lnSpc>
                  <a:spcPct val="90000"/>
                </a:lnSpc>
                <a:spcBef>
                  <a:spcPct val="0"/>
                </a:spcBef>
                <a:spcAft>
                  <a:spcPct val="0"/>
                </a:spcAft>
                <a:defRPr/>
              </a:pPr>
              <a:r>
                <a:rPr lang="en-US" sz="1400" b="1">
                  <a:solidFill>
                    <a:srgbClr val="000000"/>
                  </a:solidFill>
                  <a:ea typeface="Segoe UI" pitchFamily="34" charset="0"/>
                  <a:cs typeface="Segoe UI" pitchFamily="34" charset="0"/>
                </a:rPr>
                <a:t>Governance &amp; Enterprise Security  </a:t>
              </a:r>
            </a:p>
          </p:txBody>
        </p:sp>
        <p:sp>
          <p:nvSpPr>
            <p:cNvPr id="369" name="building_5" title="Icon of a building with columns in a row and a triangular top">
              <a:extLst>
                <a:ext uri="{FF2B5EF4-FFF2-40B4-BE49-F238E27FC236}">
                  <a16:creationId xmlns:a16="http://schemas.microsoft.com/office/drawing/2014/main" id="{79B2AF19-0E9A-4DB2-906C-2AEDBD56BA17}"/>
                </a:ext>
              </a:extLst>
            </p:cNvPr>
            <p:cNvSpPr>
              <a:spLocks noChangeAspect="1" noEditPoints="1"/>
            </p:cNvSpPr>
            <p:nvPr/>
          </p:nvSpPr>
          <p:spPr bwMode="auto">
            <a:xfrm>
              <a:off x="3800141" y="6197040"/>
              <a:ext cx="428301" cy="36686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90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grpSp>
          <p:nvGrpSpPr>
            <p:cNvPr id="20" name="Group 19">
              <a:extLst>
                <a:ext uri="{FF2B5EF4-FFF2-40B4-BE49-F238E27FC236}">
                  <a16:creationId xmlns:a16="http://schemas.microsoft.com/office/drawing/2014/main" id="{FD5BF700-9573-4A61-8933-57BA5FFF89EA}"/>
                </a:ext>
              </a:extLst>
            </p:cNvPr>
            <p:cNvGrpSpPr/>
            <p:nvPr/>
          </p:nvGrpSpPr>
          <p:grpSpPr>
            <a:xfrm>
              <a:off x="7893179" y="2797240"/>
              <a:ext cx="1511163" cy="1190005"/>
              <a:chOff x="7893179" y="2797240"/>
              <a:chExt cx="1511163" cy="1190005"/>
            </a:xfrm>
          </p:grpSpPr>
          <p:sp>
            <p:nvSpPr>
              <p:cNvPr id="358" name="TextBox 357">
                <a:extLst>
                  <a:ext uri="{FF2B5EF4-FFF2-40B4-BE49-F238E27FC236}">
                    <a16:creationId xmlns:a16="http://schemas.microsoft.com/office/drawing/2014/main" id="{9FA4CE44-18BC-49AB-AF76-7E72F4A7C9FD}"/>
                  </a:ext>
                </a:extLst>
              </p:cNvPr>
              <p:cNvSpPr txBox="1"/>
              <p:nvPr/>
            </p:nvSpPr>
            <p:spPr>
              <a:xfrm>
                <a:off x="7941200" y="3741024"/>
                <a:ext cx="1460535" cy="246221"/>
              </a:xfrm>
              <a:prstGeom prst="rect">
                <a:avLst/>
              </a:prstGeom>
              <a:noFill/>
            </p:spPr>
            <p:txBody>
              <a:bodyPr wrap="square" lIns="0" tIns="0" rIns="0" bIns="0" rtlCol="0" anchor="ctr" anchorCtr="0">
                <a:spAutoFit/>
              </a:bodyPr>
              <a:lstStyle/>
              <a:p>
                <a:pPr algn="ctr" defTabSz="914367">
                  <a:defRPr/>
                </a:pPr>
                <a:r>
                  <a:rPr lang="en-US" sz="800">
                    <a:gradFill>
                      <a:gsLst>
                        <a:gs pos="2917">
                          <a:srgbClr val="1A1A1A"/>
                        </a:gs>
                        <a:gs pos="30000">
                          <a:srgbClr val="1A1A1A"/>
                        </a:gs>
                      </a:gsLst>
                      <a:lin ang="5400000" scaled="0"/>
                    </a:gradFill>
                    <a:cs typeface="Segoe UI" panose="020B0502040204020203" pitchFamily="34" charset="0"/>
                  </a:rPr>
                  <a:t>Leader in the Magic </a:t>
                </a:r>
              </a:p>
              <a:p>
                <a:pPr algn="ctr" defTabSz="914367">
                  <a:defRPr/>
                </a:pPr>
                <a:r>
                  <a:rPr lang="en-US" sz="800">
                    <a:gradFill>
                      <a:gsLst>
                        <a:gs pos="2917">
                          <a:srgbClr val="1A1A1A"/>
                        </a:gs>
                        <a:gs pos="30000">
                          <a:srgbClr val="1A1A1A"/>
                        </a:gs>
                      </a:gsLst>
                      <a:lin ang="5400000" scaled="0"/>
                    </a:gradFill>
                    <a:cs typeface="Segoe UI" panose="020B0502040204020203" pitchFamily="34" charset="0"/>
                  </a:rPr>
                  <a:t>Quadrant for BI and Analytics</a:t>
                </a:r>
              </a:p>
            </p:txBody>
          </p:sp>
          <p:sp>
            <p:nvSpPr>
              <p:cNvPr id="370" name="Freeform: Shape 282">
                <a:extLst>
                  <a:ext uri="{FF2B5EF4-FFF2-40B4-BE49-F238E27FC236}">
                    <a16:creationId xmlns:a16="http://schemas.microsoft.com/office/drawing/2014/main" id="{A3BDBF95-9A73-4F40-AB13-0715C9DD974E}"/>
                  </a:ext>
                </a:extLst>
              </p:cNvPr>
              <p:cNvSpPr/>
              <p:nvPr/>
            </p:nvSpPr>
            <p:spPr>
              <a:xfrm>
                <a:off x="8316966" y="3112429"/>
                <a:ext cx="668008" cy="481795"/>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a:endParaRPr>
              </a:p>
            </p:txBody>
          </p:sp>
          <p:sp>
            <p:nvSpPr>
              <p:cNvPr id="371" name="TextBox 370">
                <a:extLst>
                  <a:ext uri="{FF2B5EF4-FFF2-40B4-BE49-F238E27FC236}">
                    <a16:creationId xmlns:a16="http://schemas.microsoft.com/office/drawing/2014/main" id="{2EA07D12-9E35-4A3D-B1BD-94CFF2E7B0A5}"/>
                  </a:ext>
                </a:extLst>
              </p:cNvPr>
              <p:cNvSpPr txBox="1"/>
              <p:nvPr/>
            </p:nvSpPr>
            <p:spPr>
              <a:xfrm>
                <a:off x="7893179" y="2797240"/>
                <a:ext cx="1511163" cy="138499"/>
              </a:xfrm>
              <a:prstGeom prst="rect">
                <a:avLst/>
              </a:prstGeom>
              <a:noFill/>
            </p:spPr>
            <p:txBody>
              <a:bodyPr wrap="square" lIns="0" tIns="0" rIns="0" bIns="0" rtlCol="0">
                <a:spAutoFit/>
              </a:bodyPr>
              <a:lstStyle/>
              <a:p>
                <a:pPr algn="ctr" defTabSz="914367">
                  <a:lnSpc>
                    <a:spcPct val="90000"/>
                  </a:lnSpc>
                  <a:defRPr/>
                </a:pPr>
                <a:r>
                  <a:rPr lang="en-US" sz="1000">
                    <a:solidFill>
                      <a:srgbClr val="000000"/>
                    </a:solidFill>
                    <a:latin typeface="Segoe UI Semibold"/>
                  </a:rPr>
                  <a:t>Power BI Premium</a:t>
                </a:r>
              </a:p>
            </p:txBody>
          </p:sp>
        </p:grpSp>
        <p:sp>
          <p:nvSpPr>
            <p:cNvPr id="392" name="TextBox 391">
              <a:extLst>
                <a:ext uri="{FF2B5EF4-FFF2-40B4-BE49-F238E27FC236}">
                  <a16:creationId xmlns:a16="http://schemas.microsoft.com/office/drawing/2014/main" id="{86F8F462-0607-4CCD-80FB-152A183E5665}"/>
                </a:ext>
              </a:extLst>
            </p:cNvPr>
            <p:cNvSpPr txBox="1"/>
            <p:nvPr/>
          </p:nvSpPr>
          <p:spPr>
            <a:xfrm>
              <a:off x="7629197" y="1164591"/>
              <a:ext cx="2039128"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Visualization</a:t>
              </a:r>
            </a:p>
          </p:txBody>
        </p:sp>
        <p:sp>
          <p:nvSpPr>
            <p:cNvPr id="410" name="TextBox 409">
              <a:extLst>
                <a:ext uri="{FF2B5EF4-FFF2-40B4-BE49-F238E27FC236}">
                  <a16:creationId xmlns:a16="http://schemas.microsoft.com/office/drawing/2014/main" id="{231F8992-9916-42DF-ABED-F35299EE2435}"/>
                </a:ext>
              </a:extLst>
            </p:cNvPr>
            <p:cNvSpPr txBox="1"/>
            <p:nvPr/>
          </p:nvSpPr>
          <p:spPr>
            <a:xfrm>
              <a:off x="483480" y="1304621"/>
              <a:ext cx="1059585" cy="215444"/>
            </a:xfrm>
            <a:prstGeom prst="rect">
              <a:avLst/>
            </a:prstGeom>
            <a:noFill/>
          </p:spPr>
          <p:txBody>
            <a:bodyPr wrap="none" lIns="0" tIns="0" rIns="0" bIns="0" rtlCol="0">
              <a:spAutoFit/>
            </a:bodyPr>
            <a:lstStyle/>
            <a:p>
              <a:pPr algn="ctr" defTabSz="914367">
                <a:defRPr/>
              </a:pPr>
              <a:r>
                <a:rPr lang="en-US" sz="1400">
                  <a:solidFill>
                    <a:srgbClr val="0078D4"/>
                  </a:solidFill>
                  <a:latin typeface="Segoe UI Semibold"/>
                </a:rPr>
                <a:t>Data Sources</a:t>
              </a:r>
            </a:p>
          </p:txBody>
        </p:sp>
        <p:pic>
          <p:nvPicPr>
            <p:cNvPr id="9" name="Picture 8">
              <a:extLst>
                <a:ext uri="{FF2B5EF4-FFF2-40B4-BE49-F238E27FC236}">
                  <a16:creationId xmlns:a16="http://schemas.microsoft.com/office/drawing/2014/main" id="{D091F185-5DB8-4416-AFC4-742BE957717C}"/>
                </a:ext>
              </a:extLst>
            </p:cNvPr>
            <p:cNvPicPr>
              <a:picLocks noChangeAspect="1"/>
            </p:cNvPicPr>
            <p:nvPr/>
          </p:nvPicPr>
          <p:blipFill>
            <a:blip r:embed="rId2"/>
            <a:stretch>
              <a:fillRect/>
            </a:stretch>
          </p:blipFill>
          <p:spPr>
            <a:xfrm>
              <a:off x="5731600" y="3153781"/>
              <a:ext cx="512712" cy="514929"/>
            </a:xfrm>
            <a:prstGeom prst="rect">
              <a:avLst/>
            </a:prstGeom>
          </p:spPr>
        </p:pic>
        <p:sp>
          <p:nvSpPr>
            <p:cNvPr id="10" name="TextBox 9">
              <a:extLst>
                <a:ext uri="{FF2B5EF4-FFF2-40B4-BE49-F238E27FC236}">
                  <a16:creationId xmlns:a16="http://schemas.microsoft.com/office/drawing/2014/main" id="{E98B72D9-22D7-4F00-BD78-A01405E57837}"/>
                </a:ext>
              </a:extLst>
            </p:cNvPr>
            <p:cNvSpPr txBox="1"/>
            <p:nvPr/>
          </p:nvSpPr>
          <p:spPr>
            <a:xfrm>
              <a:off x="5142273" y="2743836"/>
              <a:ext cx="1675568"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zure Synapse Analytics (Spark + Serverless + DWH)</a:t>
              </a:r>
            </a:p>
          </p:txBody>
        </p:sp>
        <p:sp>
          <p:nvSpPr>
            <p:cNvPr id="11" name="TextBox 10">
              <a:extLst>
                <a:ext uri="{FF2B5EF4-FFF2-40B4-BE49-F238E27FC236}">
                  <a16:creationId xmlns:a16="http://schemas.microsoft.com/office/drawing/2014/main" id="{2965123B-4FE0-4C53-BD27-465C62E549A4}"/>
                </a:ext>
              </a:extLst>
            </p:cNvPr>
            <p:cNvSpPr txBox="1"/>
            <p:nvPr/>
          </p:nvSpPr>
          <p:spPr>
            <a:xfrm>
              <a:off x="5009943" y="3802579"/>
              <a:ext cx="1922599"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lvl="0" algn="ctr">
                <a:defRPr/>
              </a:pPr>
              <a:r>
                <a:rPr lang="en-US" sz="800" b="0">
                  <a:latin typeface="Segoe UI" panose="020B0502040204020203" pitchFamily="34" charset="0"/>
                  <a:cs typeface="Segoe UI" panose="020B0502040204020203" pitchFamily="34" charset="0"/>
                </a:rPr>
                <a:t>limitless analytics service that </a:t>
              </a:r>
            </a:p>
            <a:p>
              <a:pPr lvl="0" algn="ctr">
                <a:defRPr/>
              </a:pPr>
              <a:r>
                <a:rPr lang="en-US" sz="800" b="0">
                  <a:latin typeface="Segoe UI" panose="020B0502040204020203" pitchFamily="34" charset="0"/>
                  <a:cs typeface="Segoe UI" panose="020B0502040204020203" pitchFamily="34" charset="0"/>
                </a:rPr>
                <a:t>brings together enterprise data warehousing and Big Data analytics</a:t>
              </a:r>
              <a:endPar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cxnSp>
          <p:nvCxnSpPr>
            <p:cNvPr id="12" name="Straight Arrow Connector 11">
              <a:extLst>
                <a:ext uri="{FF2B5EF4-FFF2-40B4-BE49-F238E27FC236}">
                  <a16:creationId xmlns:a16="http://schemas.microsoft.com/office/drawing/2014/main" id="{0CCF4D4B-E1CB-4BC4-88AD-61BB825AB324}"/>
                </a:ext>
              </a:extLst>
            </p:cNvPr>
            <p:cNvCxnSpPr>
              <a:cxnSpLocks/>
            </p:cNvCxnSpPr>
            <p:nvPr/>
          </p:nvCxnSpPr>
          <p:spPr>
            <a:xfrm flipV="1">
              <a:off x="4360194" y="3229620"/>
              <a:ext cx="560034" cy="1"/>
            </a:xfrm>
            <a:prstGeom prst="straightConnector1">
              <a:avLst/>
            </a:prstGeom>
            <a:noFill/>
            <a:ln w="19050" cap="flat" cmpd="sng" algn="ctr">
              <a:solidFill>
                <a:srgbClr val="0078D4"/>
              </a:solidFill>
              <a:prstDash val="solid"/>
              <a:headEnd type="none" w="lg" len="med"/>
              <a:tailEnd type="arrow" w="lg" len="sm"/>
            </a:ln>
            <a:effectLst/>
          </p:spPr>
        </p:cxnSp>
        <p:grpSp>
          <p:nvGrpSpPr>
            <p:cNvPr id="15" name="Group 14">
              <a:extLst>
                <a:ext uri="{FF2B5EF4-FFF2-40B4-BE49-F238E27FC236}">
                  <a16:creationId xmlns:a16="http://schemas.microsoft.com/office/drawing/2014/main" id="{F9992C74-D95F-4A6F-8677-F122BBBB6D77}"/>
                </a:ext>
              </a:extLst>
            </p:cNvPr>
            <p:cNvGrpSpPr/>
            <p:nvPr/>
          </p:nvGrpSpPr>
          <p:grpSpPr>
            <a:xfrm>
              <a:off x="2551215" y="2727991"/>
              <a:ext cx="1861308" cy="1448048"/>
              <a:chOff x="2824046" y="2723293"/>
              <a:chExt cx="1861308" cy="1448048"/>
            </a:xfrm>
          </p:grpSpPr>
          <p:pic>
            <p:nvPicPr>
              <p:cNvPr id="3" name="Graphic 2" descr="Storage Files">
                <a:extLst>
                  <a:ext uri="{FF2B5EF4-FFF2-40B4-BE49-F238E27FC236}">
                    <a16:creationId xmlns:a16="http://schemas.microsoft.com/office/drawing/2014/main" id="{56B97888-8B28-4E41-A288-BE7898014A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36428" y="3094735"/>
                <a:ext cx="636544" cy="636544"/>
              </a:xfrm>
              <a:prstGeom prst="rect">
                <a:avLst/>
              </a:prstGeom>
            </p:spPr>
          </p:pic>
          <p:sp>
            <p:nvSpPr>
              <p:cNvPr id="7" name="TextBox 6">
                <a:extLst>
                  <a:ext uri="{FF2B5EF4-FFF2-40B4-BE49-F238E27FC236}">
                    <a16:creationId xmlns:a16="http://schemas.microsoft.com/office/drawing/2014/main" id="{1C1CC32B-8E58-4608-A58F-50BA1DC2A2BA}"/>
                  </a:ext>
                </a:extLst>
              </p:cNvPr>
              <p:cNvSpPr txBox="1"/>
              <p:nvPr/>
            </p:nvSpPr>
            <p:spPr>
              <a:xfrm>
                <a:off x="3073179" y="3802009"/>
                <a:ext cx="1471791"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algn="ctr">
                  <a:defRPr/>
                </a:pPr>
                <a:r>
                  <a:rPr lang="en-US" sz="800" b="0">
                    <a:latin typeface="Segoe UI" panose="020B0502040204020203" pitchFamily="34" charset="0"/>
                    <a:cs typeface="Segoe UI" panose="020B0502040204020203" pitchFamily="34" charset="0"/>
                  </a:rPr>
                  <a:t>Low-cost, tiered storage, with high availability/disaster recovery capabilities.</a:t>
                </a:r>
              </a:p>
            </p:txBody>
          </p:sp>
          <p:sp>
            <p:nvSpPr>
              <p:cNvPr id="14" name="TextBox 13">
                <a:extLst>
                  <a:ext uri="{FF2B5EF4-FFF2-40B4-BE49-F238E27FC236}">
                    <a16:creationId xmlns:a16="http://schemas.microsoft.com/office/drawing/2014/main" id="{689E6A69-77A0-4EE5-8BE1-60F2E6CB74AC}"/>
                  </a:ext>
                </a:extLst>
              </p:cNvPr>
              <p:cNvSpPr txBox="1"/>
              <p:nvPr/>
            </p:nvSpPr>
            <p:spPr>
              <a:xfrm>
                <a:off x="2824046" y="2723293"/>
                <a:ext cx="1861308" cy="276999"/>
              </a:xfrm>
              <a:prstGeom prst="rect">
                <a:avLst/>
              </a:prstGeom>
              <a:noFill/>
            </p:spPr>
            <p:txBody>
              <a:bodyPr wrap="square" lIns="0" tIns="0" rIns="0" bIns="0" rtlCol="0">
                <a:spAutoFit/>
              </a:bodyPr>
              <a:lstStyle/>
              <a:p>
                <a:pPr algn="ctr" defTabSz="914367">
                  <a:lnSpc>
                    <a:spcPct val="90000"/>
                  </a:lnSpc>
                  <a:defRPr/>
                </a:pPr>
                <a:r>
                  <a:rPr lang="en-US" sz="1000">
                    <a:solidFill>
                      <a:srgbClr val="000000"/>
                    </a:solidFill>
                    <a:latin typeface="Segoe UI Semibold"/>
                  </a:rPr>
                  <a:t>Storage Account </a:t>
                </a:r>
              </a:p>
              <a:p>
                <a:pPr algn="ctr" defTabSz="914367">
                  <a:lnSpc>
                    <a:spcPct val="90000"/>
                  </a:lnSpc>
                  <a:defRPr/>
                </a:pPr>
                <a:r>
                  <a:rPr lang="en-US" sz="1000">
                    <a:solidFill>
                      <a:srgbClr val="000000"/>
                    </a:solidFill>
                    <a:latin typeface="Segoe UI Semibold"/>
                  </a:rPr>
                  <a:t>ADLS Gen 2</a:t>
                </a:r>
              </a:p>
            </p:txBody>
          </p:sp>
        </p:grpSp>
        <p:cxnSp>
          <p:nvCxnSpPr>
            <p:cNvPr id="19" name="Straight Arrow Connector 18">
              <a:extLst>
                <a:ext uri="{FF2B5EF4-FFF2-40B4-BE49-F238E27FC236}">
                  <a16:creationId xmlns:a16="http://schemas.microsoft.com/office/drawing/2014/main" id="{2F076671-E697-40A7-8A88-88266548D304}"/>
                </a:ext>
              </a:extLst>
            </p:cNvPr>
            <p:cNvCxnSpPr>
              <a:cxnSpLocks/>
            </p:cNvCxnSpPr>
            <p:nvPr/>
          </p:nvCxnSpPr>
          <p:spPr>
            <a:xfrm flipV="1">
              <a:off x="7055685" y="3244529"/>
              <a:ext cx="560034" cy="1"/>
            </a:xfrm>
            <a:prstGeom prst="straightConnector1">
              <a:avLst/>
            </a:prstGeom>
            <a:noFill/>
            <a:ln w="19050" cap="flat" cmpd="sng" algn="ctr">
              <a:solidFill>
                <a:srgbClr val="0078D4"/>
              </a:solidFill>
              <a:prstDash val="solid"/>
              <a:headEnd type="none" w="lg" len="med"/>
              <a:tailEnd type="arrow" w="lg" len="sm"/>
            </a:ln>
            <a:effectLst/>
          </p:spPr>
        </p:cxnSp>
      </p:grpSp>
    </p:spTree>
    <p:extLst>
      <p:ext uri="{BB962C8B-B14F-4D97-AF65-F5344CB8AC3E}">
        <p14:creationId xmlns:p14="http://schemas.microsoft.com/office/powerpoint/2010/main" val="322541507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DC07-7F6D-4ADD-8C5A-0FC2D8B6FAE9}"/>
              </a:ext>
            </a:extLst>
          </p:cNvPr>
          <p:cNvSpPr>
            <a:spLocks noGrp="1"/>
          </p:cNvSpPr>
          <p:nvPr>
            <p:ph type="title"/>
          </p:nvPr>
        </p:nvSpPr>
        <p:spPr/>
        <p:txBody>
          <a:bodyPr/>
          <a:lstStyle/>
          <a:p>
            <a:r>
              <a:rPr lang="en-US" sz="2800"/>
              <a:t>Reference Architecture</a:t>
            </a:r>
          </a:p>
        </p:txBody>
      </p:sp>
      <p:grpSp>
        <p:nvGrpSpPr>
          <p:cNvPr id="21" name="Group 20">
            <a:extLst>
              <a:ext uri="{FF2B5EF4-FFF2-40B4-BE49-F238E27FC236}">
                <a16:creationId xmlns:a16="http://schemas.microsoft.com/office/drawing/2014/main" id="{46EF8EC8-1F30-4884-BA0D-A86D4E709D5F}"/>
              </a:ext>
            </a:extLst>
          </p:cNvPr>
          <p:cNvGrpSpPr/>
          <p:nvPr/>
        </p:nvGrpSpPr>
        <p:grpSpPr>
          <a:xfrm>
            <a:off x="1320945" y="980605"/>
            <a:ext cx="9284106" cy="5613624"/>
            <a:chOff x="426424" y="972813"/>
            <a:chExt cx="9284106" cy="5613624"/>
          </a:xfrm>
        </p:grpSpPr>
        <p:sp>
          <p:nvSpPr>
            <p:cNvPr id="342" name="Rectangle 341">
              <a:extLst>
                <a:ext uri="{FF2B5EF4-FFF2-40B4-BE49-F238E27FC236}">
                  <a16:creationId xmlns:a16="http://schemas.microsoft.com/office/drawing/2014/main" id="{6C84C8E9-F02B-4662-B8A1-9B5149D32C1F}"/>
                </a:ext>
              </a:extLst>
            </p:cNvPr>
            <p:cNvSpPr/>
            <p:nvPr/>
          </p:nvSpPr>
          <p:spPr bwMode="auto">
            <a:xfrm>
              <a:off x="7738136" y="988670"/>
              <a:ext cx="1821251" cy="4682201"/>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3F26284E-287C-45CE-BE3B-9A9150294051}"/>
                </a:ext>
              </a:extLst>
            </p:cNvPr>
            <p:cNvSpPr/>
            <p:nvPr/>
          </p:nvSpPr>
          <p:spPr bwMode="auto">
            <a:xfrm>
              <a:off x="4969208" y="978966"/>
              <a:ext cx="2037497" cy="4673735"/>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AA71F304-2FE3-4257-82D7-6CD0854697D8}"/>
                </a:ext>
              </a:extLst>
            </p:cNvPr>
            <p:cNvSpPr/>
            <p:nvPr/>
          </p:nvSpPr>
          <p:spPr bwMode="auto">
            <a:xfrm>
              <a:off x="2632613" y="972813"/>
              <a:ext cx="1727581" cy="4679888"/>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TextBox 345">
              <a:extLst>
                <a:ext uri="{FF2B5EF4-FFF2-40B4-BE49-F238E27FC236}">
                  <a16:creationId xmlns:a16="http://schemas.microsoft.com/office/drawing/2014/main" id="{9E17F711-7062-4294-9FE1-915D558C5AF2}"/>
                </a:ext>
              </a:extLst>
            </p:cNvPr>
            <p:cNvSpPr txBox="1"/>
            <p:nvPr/>
          </p:nvSpPr>
          <p:spPr>
            <a:xfrm>
              <a:off x="864800" y="2173698"/>
              <a:ext cx="1045736"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Logs (unstructured)</a:t>
              </a:r>
            </a:p>
          </p:txBody>
        </p:sp>
        <p:sp>
          <p:nvSpPr>
            <p:cNvPr id="347" name="TextBox 346">
              <a:extLst>
                <a:ext uri="{FF2B5EF4-FFF2-40B4-BE49-F238E27FC236}">
                  <a16:creationId xmlns:a16="http://schemas.microsoft.com/office/drawing/2014/main" id="{F5AA7A59-428F-44A9-836E-9C3D7B6B3F81}"/>
                </a:ext>
              </a:extLst>
            </p:cNvPr>
            <p:cNvSpPr txBox="1"/>
            <p:nvPr/>
          </p:nvSpPr>
          <p:spPr>
            <a:xfrm>
              <a:off x="864800" y="2997372"/>
              <a:ext cx="1129729"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Media (unstructured)</a:t>
              </a:r>
            </a:p>
          </p:txBody>
        </p:sp>
        <p:sp>
          <p:nvSpPr>
            <p:cNvPr id="348" name="TextBox 347">
              <a:extLst>
                <a:ext uri="{FF2B5EF4-FFF2-40B4-BE49-F238E27FC236}">
                  <a16:creationId xmlns:a16="http://schemas.microsoft.com/office/drawing/2014/main" id="{5C4546D2-C4DC-48A5-A403-E8B3429D4841}"/>
                </a:ext>
              </a:extLst>
            </p:cNvPr>
            <p:cNvSpPr txBox="1"/>
            <p:nvPr/>
          </p:nvSpPr>
          <p:spPr>
            <a:xfrm>
              <a:off x="864799" y="3821046"/>
              <a:ext cx="1026647"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Files (unstructured)</a:t>
              </a:r>
            </a:p>
          </p:txBody>
        </p:sp>
        <p:sp>
          <p:nvSpPr>
            <p:cNvPr id="349" name="TextBox 348">
              <a:extLst>
                <a:ext uri="{FF2B5EF4-FFF2-40B4-BE49-F238E27FC236}">
                  <a16:creationId xmlns:a16="http://schemas.microsoft.com/office/drawing/2014/main" id="{2EAA7EEA-DE89-47F6-89AC-F638F2EF3095}"/>
                </a:ext>
              </a:extLst>
            </p:cNvPr>
            <p:cNvSpPr txBox="1"/>
            <p:nvPr/>
          </p:nvSpPr>
          <p:spPr>
            <a:xfrm>
              <a:off x="864799" y="4561621"/>
              <a:ext cx="997441" cy="498598"/>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Business/</a:t>
              </a:r>
              <a:br>
                <a:rPr lang="en-US" sz="1200">
                  <a:gradFill>
                    <a:gsLst>
                      <a:gs pos="2917">
                        <a:srgbClr val="1A1A1A"/>
                      </a:gs>
                      <a:gs pos="30000">
                        <a:srgbClr val="1A1A1A"/>
                      </a:gs>
                    </a:gsLst>
                    <a:lin ang="5400000" scaled="0"/>
                  </a:gradFill>
                  <a:latin typeface="Segoe UI Semibold"/>
                </a:rPr>
              </a:br>
              <a:r>
                <a:rPr lang="en-US" sz="1200">
                  <a:gradFill>
                    <a:gsLst>
                      <a:gs pos="2917">
                        <a:srgbClr val="1A1A1A"/>
                      </a:gs>
                      <a:gs pos="30000">
                        <a:srgbClr val="1A1A1A"/>
                      </a:gs>
                    </a:gsLst>
                    <a:lin ang="5400000" scaled="0"/>
                  </a:gradFill>
                  <a:latin typeface="Segoe UI Semibold"/>
                </a:rPr>
                <a:t>custom apps </a:t>
              </a:r>
              <a:br>
                <a:rPr lang="en-US" sz="1200">
                  <a:gradFill>
                    <a:gsLst>
                      <a:gs pos="2917">
                        <a:srgbClr val="1A1A1A"/>
                      </a:gs>
                      <a:gs pos="30000">
                        <a:srgbClr val="1A1A1A"/>
                      </a:gs>
                    </a:gsLst>
                    <a:lin ang="5400000" scaled="0"/>
                  </a:gradFill>
                  <a:latin typeface="Segoe UI Semibold"/>
                </a:rPr>
              </a:br>
              <a:r>
                <a:rPr lang="en-US" sz="1200">
                  <a:gradFill>
                    <a:gsLst>
                      <a:gs pos="2917">
                        <a:srgbClr val="1A1A1A"/>
                      </a:gs>
                      <a:gs pos="30000">
                        <a:srgbClr val="1A1A1A"/>
                      </a:gs>
                    </a:gsLst>
                    <a:lin ang="5400000" scaled="0"/>
                  </a:gradFill>
                  <a:latin typeface="Segoe UI Semibold"/>
                </a:rPr>
                <a:t>(structured)</a:t>
              </a:r>
            </a:p>
          </p:txBody>
        </p:sp>
        <p:sp>
          <p:nvSpPr>
            <p:cNvPr id="350" name="PhotoCollection_E7AA" title="Icon of a stacked photo of a landscape">
              <a:extLst>
                <a:ext uri="{FF2B5EF4-FFF2-40B4-BE49-F238E27FC236}">
                  <a16:creationId xmlns:a16="http://schemas.microsoft.com/office/drawing/2014/main" id="{BFF68636-5473-4CBD-BC9F-29D77860453F}"/>
                </a:ext>
              </a:extLst>
            </p:cNvPr>
            <p:cNvSpPr>
              <a:spLocks noChangeAspect="1" noEditPoints="1"/>
            </p:cNvSpPr>
            <p:nvPr/>
          </p:nvSpPr>
          <p:spPr bwMode="auto">
            <a:xfrm>
              <a:off x="426424" y="3038663"/>
              <a:ext cx="326956" cy="24981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1" name="Copy_E8C8" title="Icon of two documents stacked together">
              <a:extLst>
                <a:ext uri="{FF2B5EF4-FFF2-40B4-BE49-F238E27FC236}">
                  <a16:creationId xmlns:a16="http://schemas.microsoft.com/office/drawing/2014/main" id="{01CB3020-2732-42A8-8316-D2B8EF6BA964}"/>
                </a:ext>
              </a:extLst>
            </p:cNvPr>
            <p:cNvSpPr>
              <a:spLocks noChangeAspect="1" noEditPoints="1"/>
            </p:cNvSpPr>
            <p:nvPr/>
          </p:nvSpPr>
          <p:spPr bwMode="auto">
            <a:xfrm>
              <a:off x="458896" y="3836106"/>
              <a:ext cx="262012" cy="302281"/>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2" name="Browser_2" title="Icon of a browser window with a home symbol inside">
              <a:extLst>
                <a:ext uri="{FF2B5EF4-FFF2-40B4-BE49-F238E27FC236}">
                  <a16:creationId xmlns:a16="http://schemas.microsoft.com/office/drawing/2014/main" id="{98D5CDF0-4EF0-42BD-A812-FC6326C8856E}"/>
                </a:ext>
              </a:extLst>
            </p:cNvPr>
            <p:cNvSpPr>
              <a:spLocks noChangeAspect="1" noEditPoints="1"/>
            </p:cNvSpPr>
            <p:nvPr/>
          </p:nvSpPr>
          <p:spPr bwMode="auto">
            <a:xfrm>
              <a:off x="428287" y="4673520"/>
              <a:ext cx="323231" cy="274801"/>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3" name="Script_F03A" title="Icon of an unrolled document with writing on it">
              <a:extLst>
                <a:ext uri="{FF2B5EF4-FFF2-40B4-BE49-F238E27FC236}">
                  <a16:creationId xmlns:a16="http://schemas.microsoft.com/office/drawing/2014/main" id="{D6C6E50E-E1A5-4131-989A-2BEA5C62D2E7}"/>
                </a:ext>
              </a:extLst>
            </p:cNvPr>
            <p:cNvSpPr>
              <a:spLocks noChangeAspect="1" noEditPoints="1"/>
            </p:cNvSpPr>
            <p:nvPr/>
          </p:nvSpPr>
          <p:spPr bwMode="auto">
            <a:xfrm>
              <a:off x="438835" y="2188758"/>
              <a:ext cx="302135" cy="302281"/>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4" name="Right Bracket 353">
              <a:extLst>
                <a:ext uri="{FF2B5EF4-FFF2-40B4-BE49-F238E27FC236}">
                  <a16:creationId xmlns:a16="http://schemas.microsoft.com/office/drawing/2014/main" id="{D947E78A-4EA2-4BEE-846F-D3AFCAB285D8}"/>
                </a:ext>
              </a:extLst>
            </p:cNvPr>
            <p:cNvSpPr/>
            <p:nvPr/>
          </p:nvSpPr>
          <p:spPr>
            <a:xfrm>
              <a:off x="1772936" y="1583235"/>
              <a:ext cx="169190" cy="3737560"/>
            </a:xfrm>
            <a:prstGeom prst="rightBracket">
              <a:avLst>
                <a:gd name="adj" fmla="val 0"/>
              </a:avLst>
            </a:prstGeom>
            <a:noFill/>
            <a:ln w="19050" cap="flat" cmpd="sng" algn="ctr">
              <a:solidFill>
                <a:srgbClr val="0078D4"/>
              </a:solidFill>
              <a:prstDash val="solid"/>
              <a:headEnd type="none" w="lg" len="med"/>
              <a:tailEnd type="none" w="lg"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cxnSp>
          <p:nvCxnSpPr>
            <p:cNvPr id="355" name="Straight Arrow Connector 354">
              <a:extLst>
                <a:ext uri="{FF2B5EF4-FFF2-40B4-BE49-F238E27FC236}">
                  <a16:creationId xmlns:a16="http://schemas.microsoft.com/office/drawing/2014/main" id="{6B5726F5-DF5B-4A1C-995F-7D4CA8FB7A1B}"/>
                </a:ext>
              </a:extLst>
            </p:cNvPr>
            <p:cNvCxnSpPr>
              <a:cxnSpLocks/>
            </p:cNvCxnSpPr>
            <p:nvPr/>
          </p:nvCxnSpPr>
          <p:spPr>
            <a:xfrm>
              <a:off x="1942126" y="3173847"/>
              <a:ext cx="632109" cy="0"/>
            </a:xfrm>
            <a:prstGeom prst="straightConnector1">
              <a:avLst/>
            </a:prstGeom>
            <a:noFill/>
            <a:ln w="19050" cap="flat" cmpd="sng" algn="ctr">
              <a:solidFill>
                <a:srgbClr val="0078D4"/>
              </a:solidFill>
              <a:prstDash val="solid"/>
              <a:headEnd type="none" w="lg" len="med"/>
              <a:tailEnd type="arrow" w="lg" len="sm"/>
            </a:ln>
            <a:effectLst/>
          </p:spPr>
        </p:cxnSp>
        <p:sp>
          <p:nvSpPr>
            <p:cNvPr id="359" name="TextBox 358">
              <a:extLst>
                <a:ext uri="{FF2B5EF4-FFF2-40B4-BE49-F238E27FC236}">
                  <a16:creationId xmlns:a16="http://schemas.microsoft.com/office/drawing/2014/main" id="{36F97A8A-23D5-4138-A19D-85D92522A932}"/>
                </a:ext>
              </a:extLst>
            </p:cNvPr>
            <p:cNvSpPr txBox="1"/>
            <p:nvPr/>
          </p:nvSpPr>
          <p:spPr>
            <a:xfrm>
              <a:off x="2394391" y="1164591"/>
              <a:ext cx="2188904"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Storage</a:t>
              </a:r>
            </a:p>
          </p:txBody>
        </p:sp>
        <p:sp>
          <p:nvSpPr>
            <p:cNvPr id="361" name="TextBox 360">
              <a:extLst>
                <a:ext uri="{FF2B5EF4-FFF2-40B4-BE49-F238E27FC236}">
                  <a16:creationId xmlns:a16="http://schemas.microsoft.com/office/drawing/2014/main" id="{D51780CF-895F-490B-86CE-713871096CB7}"/>
                </a:ext>
              </a:extLst>
            </p:cNvPr>
            <p:cNvSpPr txBox="1"/>
            <p:nvPr/>
          </p:nvSpPr>
          <p:spPr>
            <a:xfrm>
              <a:off x="5419581" y="1164591"/>
              <a:ext cx="1090150"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Serving</a:t>
              </a:r>
            </a:p>
          </p:txBody>
        </p:sp>
        <p:grpSp>
          <p:nvGrpSpPr>
            <p:cNvPr id="362" name="Group 361">
              <a:extLst>
                <a:ext uri="{FF2B5EF4-FFF2-40B4-BE49-F238E27FC236}">
                  <a16:creationId xmlns:a16="http://schemas.microsoft.com/office/drawing/2014/main" id="{28736625-BBE1-45B5-9819-03634FD4D4ED}"/>
                </a:ext>
              </a:extLst>
            </p:cNvPr>
            <p:cNvGrpSpPr/>
            <p:nvPr/>
          </p:nvGrpSpPr>
          <p:grpSpPr>
            <a:xfrm>
              <a:off x="7571600" y="6192395"/>
              <a:ext cx="427888" cy="365043"/>
              <a:chOff x="8436858" y="2535046"/>
              <a:chExt cx="1539405" cy="1630683"/>
            </a:xfrm>
            <a:noFill/>
          </p:grpSpPr>
          <p:sp>
            <p:nvSpPr>
              <p:cNvPr id="363" name="Freeform 764">
                <a:extLst>
                  <a:ext uri="{FF2B5EF4-FFF2-40B4-BE49-F238E27FC236}">
                    <a16:creationId xmlns:a16="http://schemas.microsoft.com/office/drawing/2014/main" id="{138DC8A3-BA69-47AD-8929-4D4D7F9DE524}"/>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364" name="Freeform 785">
                <a:extLst>
                  <a:ext uri="{FF2B5EF4-FFF2-40B4-BE49-F238E27FC236}">
                    <a16:creationId xmlns:a16="http://schemas.microsoft.com/office/drawing/2014/main" id="{9F8E9137-AD3C-4294-AA41-56FF8940BE7F}"/>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rgbClr val="243A5E"/>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grpSp>
        <p:grpSp>
          <p:nvGrpSpPr>
            <p:cNvPr id="365" name="Group 364">
              <a:extLst>
                <a:ext uri="{FF2B5EF4-FFF2-40B4-BE49-F238E27FC236}">
                  <a16:creationId xmlns:a16="http://schemas.microsoft.com/office/drawing/2014/main" id="{BA8EFDAD-17AD-4C3B-84A1-056D1FA1E4E7}"/>
                </a:ext>
              </a:extLst>
            </p:cNvPr>
            <p:cNvGrpSpPr/>
            <p:nvPr/>
          </p:nvGrpSpPr>
          <p:grpSpPr>
            <a:xfrm>
              <a:off x="2111333" y="5869745"/>
              <a:ext cx="7599197" cy="360828"/>
              <a:chOff x="457200" y="5592008"/>
              <a:chExt cx="11273952" cy="352842"/>
            </a:xfrm>
          </p:grpSpPr>
          <p:sp>
            <p:nvSpPr>
              <p:cNvPr id="366" name="Freeform 230">
                <a:extLst>
                  <a:ext uri="{FF2B5EF4-FFF2-40B4-BE49-F238E27FC236}">
                    <a16:creationId xmlns:a16="http://schemas.microsoft.com/office/drawing/2014/main" id="{ED738AC4-1663-4F63-B6C7-F1BDCC7DD29C}"/>
                  </a:ext>
                </a:extLst>
              </p:cNvPr>
              <p:cNvSpPr/>
              <p:nvPr/>
            </p:nvSpPr>
            <p:spPr bwMode="auto">
              <a:xfrm>
                <a:off x="457200" y="5592008"/>
                <a:ext cx="11273952" cy="118937"/>
              </a:xfrm>
              <a:custGeom>
                <a:avLst/>
                <a:gdLst>
                  <a:gd name="connsiteX0" fmla="*/ 0 w 6119446"/>
                  <a:gd name="connsiteY0" fmla="*/ 0 h 464234"/>
                  <a:gd name="connsiteX1" fmla="*/ 0 w 6119446"/>
                  <a:gd name="connsiteY1" fmla="*/ 464234 h 464234"/>
                  <a:gd name="connsiteX2" fmla="*/ 6119446 w 6119446"/>
                  <a:gd name="connsiteY2" fmla="*/ 464234 h 464234"/>
                  <a:gd name="connsiteX3" fmla="*/ 6119446 w 6119446"/>
                  <a:gd name="connsiteY3" fmla="*/ 14068 h 464234"/>
                </a:gdLst>
                <a:ahLst/>
                <a:cxnLst>
                  <a:cxn ang="0">
                    <a:pos x="connsiteX0" y="connsiteY0"/>
                  </a:cxn>
                  <a:cxn ang="0">
                    <a:pos x="connsiteX1" y="connsiteY1"/>
                  </a:cxn>
                  <a:cxn ang="0">
                    <a:pos x="connsiteX2" y="connsiteY2"/>
                  </a:cxn>
                  <a:cxn ang="0">
                    <a:pos x="connsiteX3" y="connsiteY3"/>
                  </a:cxn>
                </a:cxnLst>
                <a:rect l="l" t="t" r="r" b="b"/>
                <a:pathLst>
                  <a:path w="6119446" h="464234">
                    <a:moveTo>
                      <a:pt x="0" y="0"/>
                    </a:moveTo>
                    <a:lnTo>
                      <a:pt x="0" y="464234"/>
                    </a:lnTo>
                    <a:lnTo>
                      <a:pt x="6119446" y="464234"/>
                    </a:lnTo>
                    <a:lnTo>
                      <a:pt x="6119446" y="14068"/>
                    </a:lnTo>
                  </a:path>
                </a:pathLst>
              </a:custGeom>
              <a:noFill/>
              <a:ln w="12700" cap="rnd" cmpd="sng" algn="ctr">
                <a:solidFill>
                  <a:srgbClr val="000000"/>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367" name="Straight Connector 366">
                <a:extLst>
                  <a:ext uri="{FF2B5EF4-FFF2-40B4-BE49-F238E27FC236}">
                    <a16:creationId xmlns:a16="http://schemas.microsoft.com/office/drawing/2014/main" id="{4FD553A7-9AA8-4E11-B004-CF20C43D6A54}"/>
                  </a:ext>
                </a:extLst>
              </p:cNvPr>
              <p:cNvCxnSpPr/>
              <p:nvPr/>
            </p:nvCxnSpPr>
            <p:spPr>
              <a:xfrm>
                <a:off x="6096000" y="5710947"/>
                <a:ext cx="0" cy="233903"/>
              </a:xfrm>
              <a:prstGeom prst="line">
                <a:avLst/>
              </a:prstGeom>
              <a:noFill/>
              <a:ln w="12700" cap="flat" cmpd="sng" algn="ctr">
                <a:solidFill>
                  <a:srgbClr val="000000"/>
                </a:solidFill>
                <a:prstDash val="solid"/>
                <a:headEnd type="none"/>
                <a:tailEnd type="triangle"/>
              </a:ln>
              <a:effectLst/>
            </p:spPr>
          </p:cxnSp>
        </p:grpSp>
        <p:sp>
          <p:nvSpPr>
            <p:cNvPr id="368" name="Rectangle 367">
              <a:extLst>
                <a:ext uri="{FF2B5EF4-FFF2-40B4-BE49-F238E27FC236}">
                  <a16:creationId xmlns:a16="http://schemas.microsoft.com/office/drawing/2014/main" id="{202D8931-5F0E-46B7-A7EE-4BAA1614FDE1}"/>
                </a:ext>
              </a:extLst>
            </p:cNvPr>
            <p:cNvSpPr/>
            <p:nvPr/>
          </p:nvSpPr>
          <p:spPr>
            <a:xfrm>
              <a:off x="2815168" y="6300205"/>
              <a:ext cx="6096000" cy="286232"/>
            </a:xfrm>
            <a:prstGeom prst="rect">
              <a:avLst/>
            </a:prstGeom>
          </p:spPr>
          <p:txBody>
            <a:bodyPr>
              <a:spAutoFit/>
            </a:bodyPr>
            <a:lstStyle/>
            <a:p>
              <a:pPr algn="ctr" defTabSz="914102" fontAlgn="base">
                <a:lnSpc>
                  <a:spcPct val="90000"/>
                </a:lnSpc>
                <a:spcBef>
                  <a:spcPct val="0"/>
                </a:spcBef>
                <a:spcAft>
                  <a:spcPct val="0"/>
                </a:spcAft>
                <a:defRPr/>
              </a:pPr>
              <a:r>
                <a:rPr lang="en-US" sz="1400" b="1">
                  <a:solidFill>
                    <a:srgbClr val="000000"/>
                  </a:solidFill>
                  <a:ea typeface="Segoe UI" pitchFamily="34" charset="0"/>
                  <a:cs typeface="Segoe UI" pitchFamily="34" charset="0"/>
                </a:rPr>
                <a:t>Governance &amp; Enterprise Security  </a:t>
              </a:r>
            </a:p>
          </p:txBody>
        </p:sp>
        <p:sp>
          <p:nvSpPr>
            <p:cNvPr id="369" name="building_5" title="Icon of a building with columns in a row and a triangular top">
              <a:extLst>
                <a:ext uri="{FF2B5EF4-FFF2-40B4-BE49-F238E27FC236}">
                  <a16:creationId xmlns:a16="http://schemas.microsoft.com/office/drawing/2014/main" id="{79B2AF19-0E9A-4DB2-906C-2AEDBD56BA17}"/>
                </a:ext>
              </a:extLst>
            </p:cNvPr>
            <p:cNvSpPr>
              <a:spLocks noChangeAspect="1" noEditPoints="1"/>
            </p:cNvSpPr>
            <p:nvPr/>
          </p:nvSpPr>
          <p:spPr bwMode="auto">
            <a:xfrm>
              <a:off x="3800141" y="6197040"/>
              <a:ext cx="428301" cy="36686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90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grpSp>
          <p:nvGrpSpPr>
            <p:cNvPr id="20" name="Group 19">
              <a:extLst>
                <a:ext uri="{FF2B5EF4-FFF2-40B4-BE49-F238E27FC236}">
                  <a16:creationId xmlns:a16="http://schemas.microsoft.com/office/drawing/2014/main" id="{FD5BF700-9573-4A61-8933-57BA5FFF89EA}"/>
                </a:ext>
              </a:extLst>
            </p:cNvPr>
            <p:cNvGrpSpPr/>
            <p:nvPr/>
          </p:nvGrpSpPr>
          <p:grpSpPr>
            <a:xfrm>
              <a:off x="7893179" y="2797240"/>
              <a:ext cx="1511163" cy="1190005"/>
              <a:chOff x="7893179" y="2797240"/>
              <a:chExt cx="1511163" cy="1190005"/>
            </a:xfrm>
          </p:grpSpPr>
          <p:sp>
            <p:nvSpPr>
              <p:cNvPr id="358" name="TextBox 357">
                <a:extLst>
                  <a:ext uri="{FF2B5EF4-FFF2-40B4-BE49-F238E27FC236}">
                    <a16:creationId xmlns:a16="http://schemas.microsoft.com/office/drawing/2014/main" id="{9FA4CE44-18BC-49AB-AF76-7E72F4A7C9FD}"/>
                  </a:ext>
                </a:extLst>
              </p:cNvPr>
              <p:cNvSpPr txBox="1"/>
              <p:nvPr/>
            </p:nvSpPr>
            <p:spPr>
              <a:xfrm>
                <a:off x="7941200" y="3741024"/>
                <a:ext cx="1460535" cy="246221"/>
              </a:xfrm>
              <a:prstGeom prst="rect">
                <a:avLst/>
              </a:prstGeom>
              <a:noFill/>
            </p:spPr>
            <p:txBody>
              <a:bodyPr wrap="square" lIns="0" tIns="0" rIns="0" bIns="0" rtlCol="0" anchor="ctr" anchorCtr="0">
                <a:spAutoFit/>
              </a:bodyPr>
              <a:lstStyle/>
              <a:p>
                <a:pPr algn="ctr" defTabSz="914367">
                  <a:defRPr/>
                </a:pPr>
                <a:r>
                  <a:rPr lang="en-US" sz="800">
                    <a:gradFill>
                      <a:gsLst>
                        <a:gs pos="2917">
                          <a:srgbClr val="1A1A1A"/>
                        </a:gs>
                        <a:gs pos="30000">
                          <a:srgbClr val="1A1A1A"/>
                        </a:gs>
                      </a:gsLst>
                      <a:lin ang="5400000" scaled="0"/>
                    </a:gradFill>
                    <a:cs typeface="Segoe UI" panose="020B0502040204020203" pitchFamily="34" charset="0"/>
                  </a:rPr>
                  <a:t>Leader in the Magic </a:t>
                </a:r>
              </a:p>
              <a:p>
                <a:pPr algn="ctr" defTabSz="914367">
                  <a:defRPr/>
                </a:pPr>
                <a:r>
                  <a:rPr lang="en-US" sz="800">
                    <a:gradFill>
                      <a:gsLst>
                        <a:gs pos="2917">
                          <a:srgbClr val="1A1A1A"/>
                        </a:gs>
                        <a:gs pos="30000">
                          <a:srgbClr val="1A1A1A"/>
                        </a:gs>
                      </a:gsLst>
                      <a:lin ang="5400000" scaled="0"/>
                    </a:gradFill>
                    <a:cs typeface="Segoe UI" panose="020B0502040204020203" pitchFamily="34" charset="0"/>
                  </a:rPr>
                  <a:t>Quadrant for BI and Analytics</a:t>
                </a:r>
              </a:p>
            </p:txBody>
          </p:sp>
          <p:sp>
            <p:nvSpPr>
              <p:cNvPr id="370" name="Freeform: Shape 282">
                <a:extLst>
                  <a:ext uri="{FF2B5EF4-FFF2-40B4-BE49-F238E27FC236}">
                    <a16:creationId xmlns:a16="http://schemas.microsoft.com/office/drawing/2014/main" id="{A3BDBF95-9A73-4F40-AB13-0715C9DD974E}"/>
                  </a:ext>
                </a:extLst>
              </p:cNvPr>
              <p:cNvSpPr/>
              <p:nvPr/>
            </p:nvSpPr>
            <p:spPr>
              <a:xfrm>
                <a:off x="8316966" y="3112429"/>
                <a:ext cx="668008" cy="481795"/>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a:endParaRPr>
              </a:p>
            </p:txBody>
          </p:sp>
          <p:sp>
            <p:nvSpPr>
              <p:cNvPr id="371" name="TextBox 370">
                <a:extLst>
                  <a:ext uri="{FF2B5EF4-FFF2-40B4-BE49-F238E27FC236}">
                    <a16:creationId xmlns:a16="http://schemas.microsoft.com/office/drawing/2014/main" id="{2EA07D12-9E35-4A3D-B1BD-94CFF2E7B0A5}"/>
                  </a:ext>
                </a:extLst>
              </p:cNvPr>
              <p:cNvSpPr txBox="1"/>
              <p:nvPr/>
            </p:nvSpPr>
            <p:spPr>
              <a:xfrm>
                <a:off x="7893179" y="2797240"/>
                <a:ext cx="1511163" cy="138499"/>
              </a:xfrm>
              <a:prstGeom prst="rect">
                <a:avLst/>
              </a:prstGeom>
              <a:noFill/>
            </p:spPr>
            <p:txBody>
              <a:bodyPr wrap="square" lIns="0" tIns="0" rIns="0" bIns="0" rtlCol="0">
                <a:spAutoFit/>
              </a:bodyPr>
              <a:lstStyle/>
              <a:p>
                <a:pPr algn="ctr" defTabSz="914367">
                  <a:lnSpc>
                    <a:spcPct val="90000"/>
                  </a:lnSpc>
                  <a:defRPr/>
                </a:pPr>
                <a:r>
                  <a:rPr lang="en-US" sz="1000">
                    <a:solidFill>
                      <a:srgbClr val="000000"/>
                    </a:solidFill>
                    <a:latin typeface="Segoe UI Semibold"/>
                  </a:rPr>
                  <a:t>Power BI Premium</a:t>
                </a:r>
              </a:p>
            </p:txBody>
          </p:sp>
        </p:grpSp>
        <p:sp>
          <p:nvSpPr>
            <p:cNvPr id="392" name="TextBox 391">
              <a:extLst>
                <a:ext uri="{FF2B5EF4-FFF2-40B4-BE49-F238E27FC236}">
                  <a16:creationId xmlns:a16="http://schemas.microsoft.com/office/drawing/2014/main" id="{86F8F462-0607-4CCD-80FB-152A183E5665}"/>
                </a:ext>
              </a:extLst>
            </p:cNvPr>
            <p:cNvSpPr txBox="1"/>
            <p:nvPr/>
          </p:nvSpPr>
          <p:spPr>
            <a:xfrm>
              <a:off x="7629197" y="1164591"/>
              <a:ext cx="2039128"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Visualization</a:t>
              </a:r>
            </a:p>
          </p:txBody>
        </p:sp>
        <p:sp>
          <p:nvSpPr>
            <p:cNvPr id="410" name="TextBox 409">
              <a:extLst>
                <a:ext uri="{FF2B5EF4-FFF2-40B4-BE49-F238E27FC236}">
                  <a16:creationId xmlns:a16="http://schemas.microsoft.com/office/drawing/2014/main" id="{231F8992-9916-42DF-ABED-F35299EE2435}"/>
                </a:ext>
              </a:extLst>
            </p:cNvPr>
            <p:cNvSpPr txBox="1"/>
            <p:nvPr/>
          </p:nvSpPr>
          <p:spPr>
            <a:xfrm>
              <a:off x="483480" y="1304621"/>
              <a:ext cx="1059585" cy="215444"/>
            </a:xfrm>
            <a:prstGeom prst="rect">
              <a:avLst/>
            </a:prstGeom>
            <a:noFill/>
          </p:spPr>
          <p:txBody>
            <a:bodyPr wrap="none" lIns="0" tIns="0" rIns="0" bIns="0" rtlCol="0">
              <a:spAutoFit/>
            </a:bodyPr>
            <a:lstStyle/>
            <a:p>
              <a:pPr algn="ctr" defTabSz="914367">
                <a:defRPr/>
              </a:pPr>
              <a:r>
                <a:rPr lang="en-US" sz="1400">
                  <a:solidFill>
                    <a:srgbClr val="0078D4"/>
                  </a:solidFill>
                  <a:latin typeface="Segoe UI Semibold"/>
                </a:rPr>
                <a:t>Data Sources</a:t>
              </a:r>
            </a:p>
          </p:txBody>
        </p:sp>
        <p:sp>
          <p:nvSpPr>
            <p:cNvPr id="10" name="TextBox 9">
              <a:extLst>
                <a:ext uri="{FF2B5EF4-FFF2-40B4-BE49-F238E27FC236}">
                  <a16:creationId xmlns:a16="http://schemas.microsoft.com/office/drawing/2014/main" id="{E98B72D9-22D7-4F00-BD78-A01405E57837}"/>
                </a:ext>
              </a:extLst>
            </p:cNvPr>
            <p:cNvSpPr txBox="1"/>
            <p:nvPr/>
          </p:nvSpPr>
          <p:spPr>
            <a:xfrm>
              <a:off x="5142273" y="2743836"/>
              <a:ext cx="1675568"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zure Synapse Analytics (Spark + Serverless + DWH)</a:t>
              </a:r>
            </a:p>
          </p:txBody>
        </p:sp>
        <p:sp>
          <p:nvSpPr>
            <p:cNvPr id="11" name="TextBox 10">
              <a:extLst>
                <a:ext uri="{FF2B5EF4-FFF2-40B4-BE49-F238E27FC236}">
                  <a16:creationId xmlns:a16="http://schemas.microsoft.com/office/drawing/2014/main" id="{2965123B-4FE0-4C53-BD27-465C62E549A4}"/>
                </a:ext>
              </a:extLst>
            </p:cNvPr>
            <p:cNvSpPr txBox="1"/>
            <p:nvPr/>
          </p:nvSpPr>
          <p:spPr>
            <a:xfrm>
              <a:off x="5009943" y="3802579"/>
              <a:ext cx="1922599"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lvl="0" algn="ctr">
                <a:defRPr/>
              </a:pPr>
              <a:r>
                <a:rPr lang="en-US" sz="800" b="0">
                  <a:latin typeface="Segoe UI" panose="020B0502040204020203" pitchFamily="34" charset="0"/>
                  <a:cs typeface="Segoe UI" panose="020B0502040204020203" pitchFamily="34" charset="0"/>
                </a:rPr>
                <a:t>limitless analytics service that </a:t>
              </a:r>
            </a:p>
            <a:p>
              <a:pPr lvl="0" algn="ctr">
                <a:defRPr/>
              </a:pPr>
              <a:r>
                <a:rPr lang="en-US" sz="800" b="0">
                  <a:latin typeface="Segoe UI" panose="020B0502040204020203" pitchFamily="34" charset="0"/>
                  <a:cs typeface="Segoe UI" panose="020B0502040204020203" pitchFamily="34" charset="0"/>
                </a:rPr>
                <a:t>brings together enterprise data warehousing and Big Data analytics</a:t>
              </a:r>
              <a:endPar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cxnSp>
          <p:nvCxnSpPr>
            <p:cNvPr id="12" name="Straight Arrow Connector 11">
              <a:extLst>
                <a:ext uri="{FF2B5EF4-FFF2-40B4-BE49-F238E27FC236}">
                  <a16:creationId xmlns:a16="http://schemas.microsoft.com/office/drawing/2014/main" id="{0CCF4D4B-E1CB-4BC4-88AD-61BB825AB324}"/>
                </a:ext>
              </a:extLst>
            </p:cNvPr>
            <p:cNvCxnSpPr>
              <a:cxnSpLocks/>
            </p:cNvCxnSpPr>
            <p:nvPr/>
          </p:nvCxnSpPr>
          <p:spPr>
            <a:xfrm flipV="1">
              <a:off x="4360194" y="3229620"/>
              <a:ext cx="560034" cy="1"/>
            </a:xfrm>
            <a:prstGeom prst="straightConnector1">
              <a:avLst/>
            </a:prstGeom>
            <a:noFill/>
            <a:ln w="19050" cap="flat" cmpd="sng" algn="ctr">
              <a:solidFill>
                <a:srgbClr val="0078D4"/>
              </a:solidFill>
              <a:prstDash val="solid"/>
              <a:headEnd type="none" w="lg" len="med"/>
              <a:tailEnd type="arrow" w="lg" len="sm"/>
            </a:ln>
            <a:effectLst/>
          </p:spPr>
        </p:cxnSp>
        <p:grpSp>
          <p:nvGrpSpPr>
            <p:cNvPr id="15" name="Group 14">
              <a:extLst>
                <a:ext uri="{FF2B5EF4-FFF2-40B4-BE49-F238E27FC236}">
                  <a16:creationId xmlns:a16="http://schemas.microsoft.com/office/drawing/2014/main" id="{F9992C74-D95F-4A6F-8677-F122BBBB6D77}"/>
                </a:ext>
              </a:extLst>
            </p:cNvPr>
            <p:cNvGrpSpPr/>
            <p:nvPr/>
          </p:nvGrpSpPr>
          <p:grpSpPr>
            <a:xfrm>
              <a:off x="2551215" y="2727991"/>
              <a:ext cx="1861308" cy="1448048"/>
              <a:chOff x="2824046" y="2723293"/>
              <a:chExt cx="1861308" cy="1448048"/>
            </a:xfrm>
          </p:grpSpPr>
          <p:pic>
            <p:nvPicPr>
              <p:cNvPr id="3" name="Graphic 2" descr="Storage Files">
                <a:extLst>
                  <a:ext uri="{FF2B5EF4-FFF2-40B4-BE49-F238E27FC236}">
                    <a16:creationId xmlns:a16="http://schemas.microsoft.com/office/drawing/2014/main" id="{56B97888-8B28-4E41-A288-BE7898014A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36428" y="3094735"/>
                <a:ext cx="636544" cy="636544"/>
              </a:xfrm>
              <a:prstGeom prst="rect">
                <a:avLst/>
              </a:prstGeom>
            </p:spPr>
          </p:pic>
          <p:sp>
            <p:nvSpPr>
              <p:cNvPr id="7" name="TextBox 6">
                <a:extLst>
                  <a:ext uri="{FF2B5EF4-FFF2-40B4-BE49-F238E27FC236}">
                    <a16:creationId xmlns:a16="http://schemas.microsoft.com/office/drawing/2014/main" id="{1C1CC32B-8E58-4608-A58F-50BA1DC2A2BA}"/>
                  </a:ext>
                </a:extLst>
              </p:cNvPr>
              <p:cNvSpPr txBox="1"/>
              <p:nvPr/>
            </p:nvSpPr>
            <p:spPr>
              <a:xfrm>
                <a:off x="3073179" y="3802009"/>
                <a:ext cx="1471791"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algn="ctr">
                  <a:defRPr/>
                </a:pPr>
                <a:r>
                  <a:rPr lang="en-US" sz="800" b="0">
                    <a:latin typeface="Segoe UI" panose="020B0502040204020203" pitchFamily="34" charset="0"/>
                    <a:cs typeface="Segoe UI" panose="020B0502040204020203" pitchFamily="34" charset="0"/>
                  </a:rPr>
                  <a:t>Low-cost, tiered storage, with high availability/disaster recovery capabilities.</a:t>
                </a:r>
              </a:p>
            </p:txBody>
          </p:sp>
          <p:sp>
            <p:nvSpPr>
              <p:cNvPr id="14" name="TextBox 13">
                <a:extLst>
                  <a:ext uri="{FF2B5EF4-FFF2-40B4-BE49-F238E27FC236}">
                    <a16:creationId xmlns:a16="http://schemas.microsoft.com/office/drawing/2014/main" id="{689E6A69-77A0-4EE5-8BE1-60F2E6CB74AC}"/>
                  </a:ext>
                </a:extLst>
              </p:cNvPr>
              <p:cNvSpPr txBox="1"/>
              <p:nvPr/>
            </p:nvSpPr>
            <p:spPr>
              <a:xfrm>
                <a:off x="2824046" y="2723293"/>
                <a:ext cx="1861308" cy="276999"/>
              </a:xfrm>
              <a:prstGeom prst="rect">
                <a:avLst/>
              </a:prstGeom>
              <a:noFill/>
            </p:spPr>
            <p:txBody>
              <a:bodyPr wrap="square" lIns="0" tIns="0" rIns="0" bIns="0" rtlCol="0">
                <a:spAutoFit/>
              </a:bodyPr>
              <a:lstStyle/>
              <a:p>
                <a:pPr algn="ctr" defTabSz="914367">
                  <a:lnSpc>
                    <a:spcPct val="90000"/>
                  </a:lnSpc>
                  <a:defRPr/>
                </a:pPr>
                <a:r>
                  <a:rPr lang="en-US" sz="1000">
                    <a:solidFill>
                      <a:srgbClr val="000000"/>
                    </a:solidFill>
                    <a:latin typeface="Segoe UI Semibold"/>
                  </a:rPr>
                  <a:t>Storage Account </a:t>
                </a:r>
              </a:p>
              <a:p>
                <a:pPr algn="ctr" defTabSz="914367">
                  <a:lnSpc>
                    <a:spcPct val="90000"/>
                  </a:lnSpc>
                  <a:defRPr/>
                </a:pPr>
                <a:r>
                  <a:rPr lang="en-US" sz="1000">
                    <a:solidFill>
                      <a:srgbClr val="000000"/>
                    </a:solidFill>
                    <a:latin typeface="Segoe UI Semibold"/>
                  </a:rPr>
                  <a:t>ADLS Gen 2</a:t>
                </a:r>
              </a:p>
            </p:txBody>
          </p:sp>
        </p:grpSp>
        <p:cxnSp>
          <p:nvCxnSpPr>
            <p:cNvPr id="19" name="Straight Arrow Connector 18">
              <a:extLst>
                <a:ext uri="{FF2B5EF4-FFF2-40B4-BE49-F238E27FC236}">
                  <a16:creationId xmlns:a16="http://schemas.microsoft.com/office/drawing/2014/main" id="{2F076671-E697-40A7-8A88-88266548D304}"/>
                </a:ext>
              </a:extLst>
            </p:cNvPr>
            <p:cNvCxnSpPr>
              <a:cxnSpLocks/>
            </p:cNvCxnSpPr>
            <p:nvPr/>
          </p:nvCxnSpPr>
          <p:spPr>
            <a:xfrm flipV="1">
              <a:off x="7055685" y="3244529"/>
              <a:ext cx="560034" cy="1"/>
            </a:xfrm>
            <a:prstGeom prst="straightConnector1">
              <a:avLst/>
            </a:prstGeom>
            <a:noFill/>
            <a:ln w="19050" cap="flat" cmpd="sng" algn="ctr">
              <a:solidFill>
                <a:srgbClr val="0078D4"/>
              </a:solidFill>
              <a:prstDash val="solid"/>
              <a:headEnd type="none" w="lg" len="med"/>
              <a:tailEnd type="arrow" w="lg" len="sm"/>
            </a:ln>
            <a:effectLst/>
          </p:spPr>
        </p:cxnSp>
      </p:grpSp>
      <p:sp>
        <p:nvSpPr>
          <p:cNvPr id="4" name="Rectangle: Rounded Corners 3">
            <a:extLst>
              <a:ext uri="{FF2B5EF4-FFF2-40B4-BE49-F238E27FC236}">
                <a16:creationId xmlns:a16="http://schemas.microsoft.com/office/drawing/2014/main" id="{62F2353F-F3C4-45BB-AFBC-B1D3DDF5FF0B}"/>
              </a:ext>
            </a:extLst>
          </p:cNvPr>
          <p:cNvSpPr/>
          <p:nvPr/>
        </p:nvSpPr>
        <p:spPr bwMode="auto">
          <a:xfrm>
            <a:off x="5915015" y="2569204"/>
            <a:ext cx="1942141" cy="1838800"/>
          </a:xfrm>
          <a:prstGeom prst="roundRect">
            <a:avLst/>
          </a:prstGeom>
          <a:noFill/>
          <a:ln w="9525">
            <a:solidFill>
              <a:srgbClr val="FF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Arrow Connector 4">
            <a:extLst>
              <a:ext uri="{FF2B5EF4-FFF2-40B4-BE49-F238E27FC236}">
                <a16:creationId xmlns:a16="http://schemas.microsoft.com/office/drawing/2014/main" id="{6D33279C-6EDA-48FA-86C6-61AD5D14E59A}"/>
              </a:ext>
            </a:extLst>
          </p:cNvPr>
          <p:cNvCxnSpPr>
            <a:cxnSpLocks/>
          </p:cNvCxnSpPr>
          <p:nvPr/>
        </p:nvCxnSpPr>
        <p:spPr>
          <a:xfrm>
            <a:off x="6882477" y="2220175"/>
            <a:ext cx="0" cy="346685"/>
          </a:xfrm>
          <a:prstGeom prst="straightConnector1">
            <a:avLst/>
          </a:prstGeom>
          <a:noFill/>
          <a:ln w="12700" cap="flat" cmpd="sng" algn="ctr">
            <a:solidFill>
              <a:srgbClr val="FF0000"/>
            </a:solidFill>
            <a:prstDash val="sysDash"/>
            <a:headEnd type="none" w="lg" len="med"/>
            <a:tailEnd type="arrow" w="lg" len="sm"/>
          </a:ln>
          <a:effectLst/>
        </p:spPr>
      </p:cxnSp>
      <p:sp>
        <p:nvSpPr>
          <p:cNvPr id="16" name="TextBox 15">
            <a:extLst>
              <a:ext uri="{FF2B5EF4-FFF2-40B4-BE49-F238E27FC236}">
                <a16:creationId xmlns:a16="http://schemas.microsoft.com/office/drawing/2014/main" id="{5FA9AB01-47D6-49FF-AC72-699730C03BEB}"/>
              </a:ext>
            </a:extLst>
          </p:cNvPr>
          <p:cNvSpPr txBox="1"/>
          <p:nvPr/>
        </p:nvSpPr>
        <p:spPr>
          <a:xfrm>
            <a:off x="6016684" y="1712724"/>
            <a:ext cx="1731586" cy="415498"/>
          </a:xfrm>
          <a:prstGeom prst="rect">
            <a:avLst/>
          </a:prstGeom>
          <a:noFill/>
        </p:spPr>
        <p:txBody>
          <a:bodyPr wrap="square" lIns="0" tIns="0" rIns="0" bIns="0" rtlCol="0" anchor="ctr" anchorCtr="0">
            <a:spAutoFit/>
          </a:bodyPr>
          <a:lstStyle/>
          <a:p>
            <a:pPr defTabSz="914367">
              <a:defRPr/>
            </a:pPr>
            <a:r>
              <a:rPr lang="en-US" sz="900" b="1">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Enterprise data models </a:t>
            </a:r>
            <a:r>
              <a:rPr lang="en-US" sz="900">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can be deployed to a</a:t>
            </a:r>
            <a:r>
              <a:rPr lang="en-US" sz="900" b="1">
                <a:solidFill>
                  <a:srgbClr val="0070C0"/>
                </a:solidFill>
                <a:latin typeface="Segoe UI" panose="020B0502040204020203" pitchFamily="34" charset="0"/>
                <a:cs typeface="Segoe UI" panose="020B0502040204020203" pitchFamily="34" charset="0"/>
              </a:rPr>
              <a:t> </a:t>
            </a:r>
            <a:r>
              <a:rPr lang="en-US" sz="900" b="1">
                <a:solidFill>
                  <a:srgbClr val="0070C0"/>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Synapse SQL pool in Azure Synapse</a:t>
            </a:r>
            <a:r>
              <a:rPr lang="en-US" sz="900">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 </a:t>
            </a:r>
          </a:p>
        </p:txBody>
      </p:sp>
      <p:pic>
        <p:nvPicPr>
          <p:cNvPr id="45" name="Picture 44">
            <a:extLst>
              <a:ext uri="{FF2B5EF4-FFF2-40B4-BE49-F238E27FC236}">
                <a16:creationId xmlns:a16="http://schemas.microsoft.com/office/drawing/2014/main" id="{5A25403F-A4C9-4BFE-BB0E-108B65015BE4}"/>
              </a:ext>
            </a:extLst>
          </p:cNvPr>
          <p:cNvPicPr>
            <a:picLocks noChangeAspect="1"/>
          </p:cNvPicPr>
          <p:nvPr/>
        </p:nvPicPr>
        <p:blipFill>
          <a:blip r:embed="rId5"/>
          <a:stretch>
            <a:fillRect/>
          </a:stretch>
        </p:blipFill>
        <p:spPr>
          <a:xfrm>
            <a:off x="6626121" y="3161573"/>
            <a:ext cx="512712" cy="514929"/>
          </a:xfrm>
          <a:prstGeom prst="rect">
            <a:avLst/>
          </a:prstGeom>
        </p:spPr>
      </p:pic>
    </p:spTree>
    <p:extLst>
      <p:ext uri="{BB962C8B-B14F-4D97-AF65-F5344CB8AC3E}">
        <p14:creationId xmlns:p14="http://schemas.microsoft.com/office/powerpoint/2010/main" val="7171215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BDC07-7F6D-4ADD-8C5A-0FC2D8B6FAE9}"/>
              </a:ext>
            </a:extLst>
          </p:cNvPr>
          <p:cNvSpPr>
            <a:spLocks noGrp="1"/>
          </p:cNvSpPr>
          <p:nvPr>
            <p:ph type="title"/>
          </p:nvPr>
        </p:nvSpPr>
        <p:spPr/>
        <p:txBody>
          <a:bodyPr/>
          <a:lstStyle/>
          <a:p>
            <a:r>
              <a:rPr lang="en-US" sz="2800"/>
              <a:t>Reference Architecture</a:t>
            </a:r>
          </a:p>
        </p:txBody>
      </p:sp>
      <p:grpSp>
        <p:nvGrpSpPr>
          <p:cNvPr id="21" name="Group 20">
            <a:extLst>
              <a:ext uri="{FF2B5EF4-FFF2-40B4-BE49-F238E27FC236}">
                <a16:creationId xmlns:a16="http://schemas.microsoft.com/office/drawing/2014/main" id="{46EF8EC8-1F30-4884-BA0D-A86D4E709D5F}"/>
              </a:ext>
            </a:extLst>
          </p:cNvPr>
          <p:cNvGrpSpPr/>
          <p:nvPr/>
        </p:nvGrpSpPr>
        <p:grpSpPr>
          <a:xfrm>
            <a:off x="1320945" y="980605"/>
            <a:ext cx="9284106" cy="5613624"/>
            <a:chOff x="426424" y="972813"/>
            <a:chExt cx="9284106" cy="5613624"/>
          </a:xfrm>
        </p:grpSpPr>
        <p:sp>
          <p:nvSpPr>
            <p:cNvPr id="342" name="Rectangle 341">
              <a:extLst>
                <a:ext uri="{FF2B5EF4-FFF2-40B4-BE49-F238E27FC236}">
                  <a16:creationId xmlns:a16="http://schemas.microsoft.com/office/drawing/2014/main" id="{6C84C8E9-F02B-4662-B8A1-9B5149D32C1F}"/>
                </a:ext>
              </a:extLst>
            </p:cNvPr>
            <p:cNvSpPr/>
            <p:nvPr/>
          </p:nvSpPr>
          <p:spPr bwMode="auto">
            <a:xfrm>
              <a:off x="7738136" y="988670"/>
              <a:ext cx="1821251" cy="4682201"/>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3F26284E-287C-45CE-BE3B-9A9150294051}"/>
                </a:ext>
              </a:extLst>
            </p:cNvPr>
            <p:cNvSpPr/>
            <p:nvPr/>
          </p:nvSpPr>
          <p:spPr bwMode="auto">
            <a:xfrm>
              <a:off x="4969208" y="978966"/>
              <a:ext cx="2037497" cy="4673735"/>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AA71F304-2FE3-4257-82D7-6CD0854697D8}"/>
                </a:ext>
              </a:extLst>
            </p:cNvPr>
            <p:cNvSpPr/>
            <p:nvPr/>
          </p:nvSpPr>
          <p:spPr bwMode="auto">
            <a:xfrm>
              <a:off x="2632613" y="972813"/>
              <a:ext cx="1727581" cy="4679888"/>
            </a:xfrm>
            <a:prstGeom prst="rect">
              <a:avLst/>
            </a:prstGeom>
            <a:solidFill>
              <a:srgbClr val="FFFFFF">
                <a:lumMod val="95000"/>
              </a:srgbClr>
            </a:solidFill>
            <a:ln w="9525" cap="flat" cmpd="sng" algn="ctr">
              <a:noFill/>
              <a:prstDash val="solid"/>
              <a:headEnd type="none" w="med" len="med"/>
              <a:tailEnd type="none" w="med" len="med"/>
            </a:ln>
            <a:effectLst>
              <a:outerShdw blurRad="63500" algn="ctr" rotWithShape="0">
                <a:prstClr val="black">
                  <a:alpha val="2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TextBox 345">
              <a:extLst>
                <a:ext uri="{FF2B5EF4-FFF2-40B4-BE49-F238E27FC236}">
                  <a16:creationId xmlns:a16="http://schemas.microsoft.com/office/drawing/2014/main" id="{9E17F711-7062-4294-9FE1-915D558C5AF2}"/>
                </a:ext>
              </a:extLst>
            </p:cNvPr>
            <p:cNvSpPr txBox="1"/>
            <p:nvPr/>
          </p:nvSpPr>
          <p:spPr>
            <a:xfrm>
              <a:off x="864800" y="2173698"/>
              <a:ext cx="1045736"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Logs (unstructured)</a:t>
              </a:r>
            </a:p>
          </p:txBody>
        </p:sp>
        <p:sp>
          <p:nvSpPr>
            <p:cNvPr id="347" name="TextBox 346">
              <a:extLst>
                <a:ext uri="{FF2B5EF4-FFF2-40B4-BE49-F238E27FC236}">
                  <a16:creationId xmlns:a16="http://schemas.microsoft.com/office/drawing/2014/main" id="{F5AA7A59-428F-44A9-836E-9C3D7B6B3F81}"/>
                </a:ext>
              </a:extLst>
            </p:cNvPr>
            <p:cNvSpPr txBox="1"/>
            <p:nvPr/>
          </p:nvSpPr>
          <p:spPr>
            <a:xfrm>
              <a:off x="864800" y="2997372"/>
              <a:ext cx="1129729"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Media (unstructured)</a:t>
              </a:r>
            </a:p>
          </p:txBody>
        </p:sp>
        <p:sp>
          <p:nvSpPr>
            <p:cNvPr id="348" name="TextBox 347">
              <a:extLst>
                <a:ext uri="{FF2B5EF4-FFF2-40B4-BE49-F238E27FC236}">
                  <a16:creationId xmlns:a16="http://schemas.microsoft.com/office/drawing/2014/main" id="{5C4546D2-C4DC-48A5-A403-E8B3429D4841}"/>
                </a:ext>
              </a:extLst>
            </p:cNvPr>
            <p:cNvSpPr txBox="1"/>
            <p:nvPr/>
          </p:nvSpPr>
          <p:spPr>
            <a:xfrm>
              <a:off x="864799" y="3821046"/>
              <a:ext cx="1026647" cy="332399"/>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Files (unstructured)</a:t>
              </a:r>
            </a:p>
          </p:txBody>
        </p:sp>
        <p:sp>
          <p:nvSpPr>
            <p:cNvPr id="349" name="TextBox 348">
              <a:extLst>
                <a:ext uri="{FF2B5EF4-FFF2-40B4-BE49-F238E27FC236}">
                  <a16:creationId xmlns:a16="http://schemas.microsoft.com/office/drawing/2014/main" id="{2EAA7EEA-DE89-47F6-89AC-F638F2EF3095}"/>
                </a:ext>
              </a:extLst>
            </p:cNvPr>
            <p:cNvSpPr txBox="1"/>
            <p:nvPr/>
          </p:nvSpPr>
          <p:spPr>
            <a:xfrm>
              <a:off x="864799" y="4561621"/>
              <a:ext cx="997441" cy="498598"/>
            </a:xfrm>
            <a:prstGeom prst="rect">
              <a:avLst/>
            </a:prstGeom>
            <a:noFill/>
          </p:spPr>
          <p:txBody>
            <a:bodyPr wrap="square" lIns="0" tIns="0" rIns="0" bIns="0" rtlCol="0" anchor="ctr" anchorCtr="0">
              <a:spAutoFit/>
            </a:bodyPr>
            <a:lstStyle/>
            <a:p>
              <a:pPr defTabSz="914367">
                <a:lnSpc>
                  <a:spcPct val="90000"/>
                </a:lnSpc>
                <a:defRPr/>
              </a:pPr>
              <a:r>
                <a:rPr lang="en-US" sz="1200">
                  <a:gradFill>
                    <a:gsLst>
                      <a:gs pos="2917">
                        <a:srgbClr val="1A1A1A"/>
                      </a:gs>
                      <a:gs pos="30000">
                        <a:srgbClr val="1A1A1A"/>
                      </a:gs>
                    </a:gsLst>
                    <a:lin ang="5400000" scaled="0"/>
                  </a:gradFill>
                  <a:latin typeface="Segoe UI Semibold"/>
                </a:rPr>
                <a:t>Business/</a:t>
              </a:r>
              <a:br>
                <a:rPr lang="en-US" sz="1200">
                  <a:gradFill>
                    <a:gsLst>
                      <a:gs pos="2917">
                        <a:srgbClr val="1A1A1A"/>
                      </a:gs>
                      <a:gs pos="30000">
                        <a:srgbClr val="1A1A1A"/>
                      </a:gs>
                    </a:gsLst>
                    <a:lin ang="5400000" scaled="0"/>
                  </a:gradFill>
                  <a:latin typeface="Segoe UI Semibold"/>
                </a:rPr>
              </a:br>
              <a:r>
                <a:rPr lang="en-US" sz="1200">
                  <a:gradFill>
                    <a:gsLst>
                      <a:gs pos="2917">
                        <a:srgbClr val="1A1A1A"/>
                      </a:gs>
                      <a:gs pos="30000">
                        <a:srgbClr val="1A1A1A"/>
                      </a:gs>
                    </a:gsLst>
                    <a:lin ang="5400000" scaled="0"/>
                  </a:gradFill>
                  <a:latin typeface="Segoe UI Semibold"/>
                </a:rPr>
                <a:t>custom apps </a:t>
              </a:r>
              <a:br>
                <a:rPr lang="en-US" sz="1200">
                  <a:gradFill>
                    <a:gsLst>
                      <a:gs pos="2917">
                        <a:srgbClr val="1A1A1A"/>
                      </a:gs>
                      <a:gs pos="30000">
                        <a:srgbClr val="1A1A1A"/>
                      </a:gs>
                    </a:gsLst>
                    <a:lin ang="5400000" scaled="0"/>
                  </a:gradFill>
                  <a:latin typeface="Segoe UI Semibold"/>
                </a:rPr>
              </a:br>
              <a:r>
                <a:rPr lang="en-US" sz="1200">
                  <a:gradFill>
                    <a:gsLst>
                      <a:gs pos="2917">
                        <a:srgbClr val="1A1A1A"/>
                      </a:gs>
                      <a:gs pos="30000">
                        <a:srgbClr val="1A1A1A"/>
                      </a:gs>
                    </a:gsLst>
                    <a:lin ang="5400000" scaled="0"/>
                  </a:gradFill>
                  <a:latin typeface="Segoe UI Semibold"/>
                </a:rPr>
                <a:t>(structured)</a:t>
              </a:r>
            </a:p>
          </p:txBody>
        </p:sp>
        <p:sp>
          <p:nvSpPr>
            <p:cNvPr id="350" name="PhotoCollection_E7AA" title="Icon of a stacked photo of a landscape">
              <a:extLst>
                <a:ext uri="{FF2B5EF4-FFF2-40B4-BE49-F238E27FC236}">
                  <a16:creationId xmlns:a16="http://schemas.microsoft.com/office/drawing/2014/main" id="{BFF68636-5473-4CBD-BC9F-29D77860453F}"/>
                </a:ext>
              </a:extLst>
            </p:cNvPr>
            <p:cNvSpPr>
              <a:spLocks noChangeAspect="1" noEditPoints="1"/>
            </p:cNvSpPr>
            <p:nvPr/>
          </p:nvSpPr>
          <p:spPr bwMode="auto">
            <a:xfrm>
              <a:off x="426424" y="3038663"/>
              <a:ext cx="326956" cy="249819"/>
            </a:xfrm>
            <a:custGeom>
              <a:avLst/>
              <a:gdLst>
                <a:gd name="T0" fmla="*/ 3326 w 3752"/>
                <a:gd name="T1" fmla="*/ 2439 h 2865"/>
                <a:gd name="T2" fmla="*/ 0 w 3752"/>
                <a:gd name="T3" fmla="*/ 2439 h 2865"/>
                <a:gd name="T4" fmla="*/ 0 w 3752"/>
                <a:gd name="T5" fmla="*/ 0 h 2865"/>
                <a:gd name="T6" fmla="*/ 3326 w 3752"/>
                <a:gd name="T7" fmla="*/ 0 h 2865"/>
                <a:gd name="T8" fmla="*/ 3326 w 3752"/>
                <a:gd name="T9" fmla="*/ 2439 h 2865"/>
                <a:gd name="T10" fmla="*/ 2616 w 3752"/>
                <a:gd name="T11" fmla="*/ 665 h 2865"/>
                <a:gd name="T12" fmla="*/ 2660 w 3752"/>
                <a:gd name="T13" fmla="*/ 710 h 2865"/>
                <a:gd name="T14" fmla="*/ 2705 w 3752"/>
                <a:gd name="T15" fmla="*/ 665 h 2865"/>
                <a:gd name="T16" fmla="*/ 2660 w 3752"/>
                <a:gd name="T17" fmla="*/ 620 h 2865"/>
                <a:gd name="T18" fmla="*/ 2616 w 3752"/>
                <a:gd name="T19" fmla="*/ 665 h 2865"/>
                <a:gd name="T20" fmla="*/ 2660 w 3752"/>
                <a:gd name="T21" fmla="*/ 2439 h 2865"/>
                <a:gd name="T22" fmla="*/ 887 w 3752"/>
                <a:gd name="T23" fmla="*/ 665 h 2865"/>
                <a:gd name="T24" fmla="*/ 0 w 3752"/>
                <a:gd name="T25" fmla="*/ 1552 h 2865"/>
                <a:gd name="T26" fmla="*/ 3326 w 3752"/>
                <a:gd name="T27" fmla="*/ 2217 h 2865"/>
                <a:gd name="T28" fmla="*/ 2439 w 3752"/>
                <a:gd name="T29" fmla="*/ 1330 h 2865"/>
                <a:gd name="T30" fmla="*/ 1995 w 3752"/>
                <a:gd name="T31" fmla="*/ 1774 h 2865"/>
                <a:gd name="T32" fmla="*/ 426 w 3752"/>
                <a:gd name="T33" fmla="*/ 2439 h 2865"/>
                <a:gd name="T34" fmla="*/ 426 w 3752"/>
                <a:gd name="T35" fmla="*/ 2865 h 2865"/>
                <a:gd name="T36" fmla="*/ 3752 w 3752"/>
                <a:gd name="T37" fmla="*/ 2865 h 2865"/>
                <a:gd name="T38" fmla="*/ 3752 w 3752"/>
                <a:gd name="T39" fmla="*/ 426 h 2865"/>
                <a:gd name="T40" fmla="*/ 3326 w 3752"/>
                <a:gd name="T41" fmla="*/ 42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52" h="2865">
                  <a:moveTo>
                    <a:pt x="3326" y="2439"/>
                  </a:moveTo>
                  <a:cubicBezTo>
                    <a:pt x="0" y="2439"/>
                    <a:pt x="0" y="2439"/>
                    <a:pt x="0" y="2439"/>
                  </a:cubicBezTo>
                  <a:cubicBezTo>
                    <a:pt x="0" y="0"/>
                    <a:pt x="0" y="0"/>
                    <a:pt x="0" y="0"/>
                  </a:cubicBezTo>
                  <a:cubicBezTo>
                    <a:pt x="3326" y="0"/>
                    <a:pt x="3326" y="0"/>
                    <a:pt x="3326" y="0"/>
                  </a:cubicBezTo>
                  <a:lnTo>
                    <a:pt x="3326" y="2439"/>
                  </a:lnTo>
                  <a:close/>
                  <a:moveTo>
                    <a:pt x="2616" y="665"/>
                  </a:moveTo>
                  <a:cubicBezTo>
                    <a:pt x="2616" y="690"/>
                    <a:pt x="2636" y="710"/>
                    <a:pt x="2660" y="710"/>
                  </a:cubicBezTo>
                  <a:cubicBezTo>
                    <a:pt x="2685" y="710"/>
                    <a:pt x="2705" y="690"/>
                    <a:pt x="2705" y="665"/>
                  </a:cubicBezTo>
                  <a:cubicBezTo>
                    <a:pt x="2705" y="640"/>
                    <a:pt x="2685" y="620"/>
                    <a:pt x="2660" y="620"/>
                  </a:cubicBezTo>
                  <a:cubicBezTo>
                    <a:pt x="2636" y="620"/>
                    <a:pt x="2616" y="640"/>
                    <a:pt x="2616" y="665"/>
                  </a:cubicBezTo>
                  <a:close/>
                  <a:moveTo>
                    <a:pt x="2660" y="2439"/>
                  </a:moveTo>
                  <a:cubicBezTo>
                    <a:pt x="887" y="665"/>
                    <a:pt x="887" y="665"/>
                    <a:pt x="887" y="665"/>
                  </a:cubicBezTo>
                  <a:cubicBezTo>
                    <a:pt x="0" y="1552"/>
                    <a:pt x="0" y="1552"/>
                    <a:pt x="0" y="1552"/>
                  </a:cubicBezTo>
                  <a:moveTo>
                    <a:pt x="3326" y="2217"/>
                  </a:moveTo>
                  <a:cubicBezTo>
                    <a:pt x="2439" y="1330"/>
                    <a:pt x="2439" y="1330"/>
                    <a:pt x="2439" y="1330"/>
                  </a:cubicBezTo>
                  <a:cubicBezTo>
                    <a:pt x="1995" y="1774"/>
                    <a:pt x="1995" y="1774"/>
                    <a:pt x="1995" y="1774"/>
                  </a:cubicBezTo>
                  <a:moveTo>
                    <a:pt x="426" y="2439"/>
                  </a:moveTo>
                  <a:cubicBezTo>
                    <a:pt x="426" y="2865"/>
                    <a:pt x="426" y="2865"/>
                    <a:pt x="426" y="2865"/>
                  </a:cubicBezTo>
                  <a:cubicBezTo>
                    <a:pt x="3752" y="2865"/>
                    <a:pt x="3752" y="2865"/>
                    <a:pt x="3752" y="2865"/>
                  </a:cubicBezTo>
                  <a:cubicBezTo>
                    <a:pt x="3752" y="426"/>
                    <a:pt x="3752" y="426"/>
                    <a:pt x="3752" y="426"/>
                  </a:cubicBezTo>
                  <a:cubicBezTo>
                    <a:pt x="3326" y="426"/>
                    <a:pt x="3326" y="426"/>
                    <a:pt x="3326" y="426"/>
                  </a:cubicBez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1" name="Copy_E8C8" title="Icon of two documents stacked together">
              <a:extLst>
                <a:ext uri="{FF2B5EF4-FFF2-40B4-BE49-F238E27FC236}">
                  <a16:creationId xmlns:a16="http://schemas.microsoft.com/office/drawing/2014/main" id="{01CB3020-2732-42A8-8316-D2B8EF6BA964}"/>
                </a:ext>
              </a:extLst>
            </p:cNvPr>
            <p:cNvSpPr>
              <a:spLocks noChangeAspect="1" noEditPoints="1"/>
            </p:cNvSpPr>
            <p:nvPr/>
          </p:nvSpPr>
          <p:spPr bwMode="auto">
            <a:xfrm>
              <a:off x="458896" y="3836106"/>
              <a:ext cx="262012" cy="302281"/>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2" name="Browser_2" title="Icon of a browser window with a home symbol inside">
              <a:extLst>
                <a:ext uri="{FF2B5EF4-FFF2-40B4-BE49-F238E27FC236}">
                  <a16:creationId xmlns:a16="http://schemas.microsoft.com/office/drawing/2014/main" id="{98D5CDF0-4EF0-42BD-A812-FC6326C8856E}"/>
                </a:ext>
              </a:extLst>
            </p:cNvPr>
            <p:cNvSpPr>
              <a:spLocks noChangeAspect="1" noEditPoints="1"/>
            </p:cNvSpPr>
            <p:nvPr/>
          </p:nvSpPr>
          <p:spPr bwMode="auto">
            <a:xfrm>
              <a:off x="428287" y="4673520"/>
              <a:ext cx="323231" cy="274801"/>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3" name="Script_F03A" title="Icon of an unrolled document with writing on it">
              <a:extLst>
                <a:ext uri="{FF2B5EF4-FFF2-40B4-BE49-F238E27FC236}">
                  <a16:creationId xmlns:a16="http://schemas.microsoft.com/office/drawing/2014/main" id="{D6C6E50E-E1A5-4131-989A-2BEA5C62D2E7}"/>
                </a:ext>
              </a:extLst>
            </p:cNvPr>
            <p:cNvSpPr>
              <a:spLocks noChangeAspect="1" noEditPoints="1"/>
            </p:cNvSpPr>
            <p:nvPr/>
          </p:nvSpPr>
          <p:spPr bwMode="auto">
            <a:xfrm>
              <a:off x="438835" y="2188758"/>
              <a:ext cx="302135" cy="302281"/>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endParaRPr>
            </a:p>
          </p:txBody>
        </p:sp>
        <p:sp>
          <p:nvSpPr>
            <p:cNvPr id="354" name="Right Bracket 353">
              <a:extLst>
                <a:ext uri="{FF2B5EF4-FFF2-40B4-BE49-F238E27FC236}">
                  <a16:creationId xmlns:a16="http://schemas.microsoft.com/office/drawing/2014/main" id="{D947E78A-4EA2-4BEE-846F-D3AFCAB285D8}"/>
                </a:ext>
              </a:extLst>
            </p:cNvPr>
            <p:cNvSpPr/>
            <p:nvPr/>
          </p:nvSpPr>
          <p:spPr>
            <a:xfrm>
              <a:off x="1772936" y="1583235"/>
              <a:ext cx="169190" cy="3737560"/>
            </a:xfrm>
            <a:prstGeom prst="rightBracket">
              <a:avLst>
                <a:gd name="adj" fmla="val 0"/>
              </a:avLst>
            </a:prstGeom>
            <a:noFill/>
            <a:ln w="19050" cap="flat" cmpd="sng" algn="ctr">
              <a:solidFill>
                <a:srgbClr val="0078D4"/>
              </a:solidFill>
              <a:prstDash val="solid"/>
              <a:headEnd type="none" w="lg" len="med"/>
              <a:tailEnd type="none" w="lg" len="med"/>
            </a:ln>
            <a:effectLst/>
          </p:spPr>
          <p:txBody>
            <a:bodyPr rtlCol="0" anchor="ct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1A1A1A"/>
                </a:solidFill>
                <a:effectLst/>
                <a:uLnTx/>
                <a:uFillTx/>
                <a:latin typeface="Segoe UI"/>
                <a:ea typeface="+mn-ea"/>
                <a:cs typeface="+mn-cs"/>
              </a:endParaRPr>
            </a:p>
          </p:txBody>
        </p:sp>
        <p:cxnSp>
          <p:nvCxnSpPr>
            <p:cNvPr id="355" name="Straight Arrow Connector 354">
              <a:extLst>
                <a:ext uri="{FF2B5EF4-FFF2-40B4-BE49-F238E27FC236}">
                  <a16:creationId xmlns:a16="http://schemas.microsoft.com/office/drawing/2014/main" id="{6B5726F5-DF5B-4A1C-995F-7D4CA8FB7A1B}"/>
                </a:ext>
              </a:extLst>
            </p:cNvPr>
            <p:cNvCxnSpPr>
              <a:cxnSpLocks/>
            </p:cNvCxnSpPr>
            <p:nvPr/>
          </p:nvCxnSpPr>
          <p:spPr>
            <a:xfrm>
              <a:off x="1942126" y="3173847"/>
              <a:ext cx="632109" cy="0"/>
            </a:xfrm>
            <a:prstGeom prst="straightConnector1">
              <a:avLst/>
            </a:prstGeom>
            <a:noFill/>
            <a:ln w="19050" cap="flat" cmpd="sng" algn="ctr">
              <a:solidFill>
                <a:srgbClr val="0078D4"/>
              </a:solidFill>
              <a:prstDash val="solid"/>
              <a:headEnd type="none" w="lg" len="med"/>
              <a:tailEnd type="arrow" w="lg" len="sm"/>
            </a:ln>
            <a:effectLst/>
          </p:spPr>
        </p:cxnSp>
        <p:sp>
          <p:nvSpPr>
            <p:cNvPr id="359" name="TextBox 358">
              <a:extLst>
                <a:ext uri="{FF2B5EF4-FFF2-40B4-BE49-F238E27FC236}">
                  <a16:creationId xmlns:a16="http://schemas.microsoft.com/office/drawing/2014/main" id="{36F97A8A-23D5-4138-A19D-85D92522A932}"/>
                </a:ext>
              </a:extLst>
            </p:cNvPr>
            <p:cNvSpPr txBox="1"/>
            <p:nvPr/>
          </p:nvSpPr>
          <p:spPr>
            <a:xfrm>
              <a:off x="2394391" y="1164591"/>
              <a:ext cx="2188904"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Storage</a:t>
              </a:r>
            </a:p>
          </p:txBody>
        </p:sp>
        <p:sp>
          <p:nvSpPr>
            <p:cNvPr id="361" name="TextBox 360">
              <a:extLst>
                <a:ext uri="{FF2B5EF4-FFF2-40B4-BE49-F238E27FC236}">
                  <a16:creationId xmlns:a16="http://schemas.microsoft.com/office/drawing/2014/main" id="{D51780CF-895F-490B-86CE-713871096CB7}"/>
                </a:ext>
              </a:extLst>
            </p:cNvPr>
            <p:cNvSpPr txBox="1"/>
            <p:nvPr/>
          </p:nvSpPr>
          <p:spPr>
            <a:xfrm>
              <a:off x="5419581" y="1164591"/>
              <a:ext cx="1090150"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Serving</a:t>
              </a:r>
            </a:p>
          </p:txBody>
        </p:sp>
        <p:grpSp>
          <p:nvGrpSpPr>
            <p:cNvPr id="362" name="Group 361">
              <a:extLst>
                <a:ext uri="{FF2B5EF4-FFF2-40B4-BE49-F238E27FC236}">
                  <a16:creationId xmlns:a16="http://schemas.microsoft.com/office/drawing/2014/main" id="{28736625-BBE1-45B5-9819-03634FD4D4ED}"/>
                </a:ext>
              </a:extLst>
            </p:cNvPr>
            <p:cNvGrpSpPr/>
            <p:nvPr/>
          </p:nvGrpSpPr>
          <p:grpSpPr>
            <a:xfrm>
              <a:off x="7571600" y="6192395"/>
              <a:ext cx="427888" cy="365043"/>
              <a:chOff x="8436858" y="2535046"/>
              <a:chExt cx="1539405" cy="1630683"/>
            </a:xfrm>
            <a:noFill/>
          </p:grpSpPr>
          <p:sp>
            <p:nvSpPr>
              <p:cNvPr id="363" name="Freeform 764">
                <a:extLst>
                  <a:ext uri="{FF2B5EF4-FFF2-40B4-BE49-F238E27FC236}">
                    <a16:creationId xmlns:a16="http://schemas.microsoft.com/office/drawing/2014/main" id="{138DC8A3-BA69-47AD-8929-4D4D7F9DE524}"/>
                  </a:ext>
                </a:extLst>
              </p:cNvPr>
              <p:cNvSpPr>
                <a:spLocks/>
              </p:cNvSpPr>
              <p:nvPr/>
            </p:nvSpPr>
            <p:spPr bwMode="auto">
              <a:xfrm>
                <a:off x="8436858" y="2535046"/>
                <a:ext cx="1539405" cy="1630683"/>
              </a:xfrm>
              <a:custGeom>
                <a:avLst/>
                <a:gdLst>
                  <a:gd name="T0" fmla="*/ 440 w 455"/>
                  <a:gd name="T1" fmla="*/ 67 h 493"/>
                  <a:gd name="T2" fmla="*/ 228 w 455"/>
                  <a:gd name="T3" fmla="*/ 0 h 493"/>
                  <a:gd name="T4" fmla="*/ 16 w 455"/>
                  <a:gd name="T5" fmla="*/ 67 h 493"/>
                  <a:gd name="T6" fmla="*/ 228 w 455"/>
                  <a:gd name="T7" fmla="*/ 493 h 493"/>
                  <a:gd name="T8" fmla="*/ 440 w 455"/>
                  <a:gd name="T9" fmla="*/ 67 h 493"/>
                </a:gdLst>
                <a:ahLst/>
                <a:cxnLst>
                  <a:cxn ang="0">
                    <a:pos x="T0" y="T1"/>
                  </a:cxn>
                  <a:cxn ang="0">
                    <a:pos x="T2" y="T3"/>
                  </a:cxn>
                  <a:cxn ang="0">
                    <a:pos x="T4" y="T5"/>
                  </a:cxn>
                  <a:cxn ang="0">
                    <a:pos x="T6" y="T7"/>
                  </a:cxn>
                  <a:cxn ang="0">
                    <a:pos x="T8" y="T9"/>
                  </a:cxn>
                </a:cxnLst>
                <a:rect l="0" t="0" r="r" b="b"/>
                <a:pathLst>
                  <a:path w="455" h="493">
                    <a:moveTo>
                      <a:pt x="440" y="67"/>
                    </a:moveTo>
                    <a:cubicBezTo>
                      <a:pt x="324" y="67"/>
                      <a:pt x="228" y="0"/>
                      <a:pt x="228" y="0"/>
                    </a:cubicBezTo>
                    <a:cubicBezTo>
                      <a:pt x="228" y="0"/>
                      <a:pt x="131" y="67"/>
                      <a:pt x="16" y="67"/>
                    </a:cubicBezTo>
                    <a:cubicBezTo>
                      <a:pt x="16" y="67"/>
                      <a:pt x="0" y="414"/>
                      <a:pt x="228" y="493"/>
                    </a:cubicBezTo>
                    <a:cubicBezTo>
                      <a:pt x="455" y="414"/>
                      <a:pt x="440" y="67"/>
                      <a:pt x="440" y="67"/>
                    </a:cubicBezTo>
                  </a:path>
                </a:pathLst>
              </a:custGeom>
              <a:noFill/>
              <a:ln w="12700">
                <a:solidFill>
                  <a:srgbClr val="0177D7"/>
                </a:solidFill>
                <a:miter lim="800000"/>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endParaRPr>
              </a:p>
            </p:txBody>
          </p:sp>
          <p:sp>
            <p:nvSpPr>
              <p:cNvPr id="364" name="Freeform 785">
                <a:extLst>
                  <a:ext uri="{FF2B5EF4-FFF2-40B4-BE49-F238E27FC236}">
                    <a16:creationId xmlns:a16="http://schemas.microsoft.com/office/drawing/2014/main" id="{9F8E9137-AD3C-4294-AA41-56FF8940BE7F}"/>
                  </a:ext>
                </a:extLst>
              </p:cNvPr>
              <p:cNvSpPr>
                <a:spLocks/>
              </p:cNvSpPr>
              <p:nvPr/>
            </p:nvSpPr>
            <p:spPr bwMode="auto">
              <a:xfrm>
                <a:off x="8961782" y="2893235"/>
                <a:ext cx="489553" cy="794032"/>
              </a:xfrm>
              <a:custGeom>
                <a:avLst/>
                <a:gdLst>
                  <a:gd name="connsiteX0" fmla="*/ 850106 w 1704975"/>
                  <a:gd name="connsiteY0" fmla="*/ 1681163 h 2765425"/>
                  <a:gd name="connsiteX1" fmla="*/ 677862 w 1704975"/>
                  <a:gd name="connsiteY1" fmla="*/ 1857642 h 2765425"/>
                  <a:gd name="connsiteX2" fmla="*/ 791051 w 1704975"/>
                  <a:gd name="connsiteY2" fmla="*/ 2019415 h 2765425"/>
                  <a:gd name="connsiteX3" fmla="*/ 791051 w 1704975"/>
                  <a:gd name="connsiteY3" fmla="*/ 2293938 h 2765425"/>
                  <a:gd name="connsiteX4" fmla="*/ 909161 w 1704975"/>
                  <a:gd name="connsiteY4" fmla="*/ 2293938 h 2765425"/>
                  <a:gd name="connsiteX5" fmla="*/ 909161 w 1704975"/>
                  <a:gd name="connsiteY5" fmla="*/ 2019415 h 2765425"/>
                  <a:gd name="connsiteX6" fmla="*/ 1022350 w 1704975"/>
                  <a:gd name="connsiteY6" fmla="*/ 1857642 h 2765425"/>
                  <a:gd name="connsiteX7" fmla="*/ 850106 w 1704975"/>
                  <a:gd name="connsiteY7" fmla="*/ 1681163 h 2765425"/>
                  <a:gd name="connsiteX8" fmla="*/ 850826 w 1704975"/>
                  <a:gd name="connsiteY8" fmla="*/ 230842 h 2765425"/>
                  <a:gd name="connsiteX9" fmla="*/ 561044 w 1704975"/>
                  <a:gd name="connsiteY9" fmla="*/ 525534 h 2765425"/>
                  <a:gd name="connsiteX10" fmla="*/ 561044 w 1704975"/>
                  <a:gd name="connsiteY10" fmla="*/ 1118601 h 2765425"/>
                  <a:gd name="connsiteX11" fmla="*/ 561044 w 1704975"/>
                  <a:gd name="connsiteY11" fmla="*/ 1165225 h 2765425"/>
                  <a:gd name="connsiteX12" fmla="*/ 1145520 w 1704975"/>
                  <a:gd name="connsiteY12" fmla="*/ 1165225 h 2765425"/>
                  <a:gd name="connsiteX13" fmla="*/ 1145520 w 1704975"/>
                  <a:gd name="connsiteY13" fmla="*/ 1084017 h 2765425"/>
                  <a:gd name="connsiteX14" fmla="*/ 1145520 w 1704975"/>
                  <a:gd name="connsiteY14" fmla="*/ 525534 h 2765425"/>
                  <a:gd name="connsiteX15" fmla="*/ 850826 w 1704975"/>
                  <a:gd name="connsiteY15" fmla="*/ 230842 h 2765425"/>
                  <a:gd name="connsiteX16" fmla="*/ 850826 w 1704975"/>
                  <a:gd name="connsiteY16" fmla="*/ 0 h 2765425"/>
                  <a:gd name="connsiteX17" fmla="*/ 1376363 w 1704975"/>
                  <a:gd name="connsiteY17" fmla="*/ 525534 h 2765425"/>
                  <a:gd name="connsiteX18" fmla="*/ 1376363 w 1704975"/>
                  <a:gd name="connsiteY18" fmla="*/ 1165225 h 2765425"/>
                  <a:gd name="connsiteX19" fmla="*/ 1704975 w 1704975"/>
                  <a:gd name="connsiteY19" fmla="*/ 1165225 h 2765425"/>
                  <a:gd name="connsiteX20" fmla="*/ 1704975 w 1704975"/>
                  <a:gd name="connsiteY20" fmla="*/ 2765425 h 2765425"/>
                  <a:gd name="connsiteX21" fmla="*/ 0 w 1704975"/>
                  <a:gd name="connsiteY21" fmla="*/ 2765425 h 2765425"/>
                  <a:gd name="connsiteX22" fmla="*/ 0 w 1704975"/>
                  <a:gd name="connsiteY22" fmla="*/ 1165225 h 2765425"/>
                  <a:gd name="connsiteX23" fmla="*/ 330200 w 1704975"/>
                  <a:gd name="connsiteY23" fmla="*/ 1165225 h 2765425"/>
                  <a:gd name="connsiteX24" fmla="*/ 330200 w 1704975"/>
                  <a:gd name="connsiteY24" fmla="*/ 1084017 h 2765425"/>
                  <a:gd name="connsiteX25" fmla="*/ 330200 w 1704975"/>
                  <a:gd name="connsiteY25" fmla="*/ 525534 h 2765425"/>
                  <a:gd name="connsiteX26" fmla="*/ 850826 w 1704975"/>
                  <a:gd name="connsiteY26" fmla="*/ 0 h 2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975" h="2765425">
                    <a:moveTo>
                      <a:pt x="850106" y="1681163"/>
                    </a:moveTo>
                    <a:cubicBezTo>
                      <a:pt x="756602" y="1681163"/>
                      <a:pt x="677862" y="1759598"/>
                      <a:pt x="677862" y="1857642"/>
                    </a:cubicBezTo>
                    <a:cubicBezTo>
                      <a:pt x="677862" y="1931175"/>
                      <a:pt x="727075" y="1994904"/>
                      <a:pt x="791051" y="2019415"/>
                    </a:cubicBezTo>
                    <a:cubicBezTo>
                      <a:pt x="791051" y="2293938"/>
                      <a:pt x="791051" y="2293938"/>
                      <a:pt x="791051" y="2293938"/>
                    </a:cubicBezTo>
                    <a:cubicBezTo>
                      <a:pt x="909161" y="2293938"/>
                      <a:pt x="909161" y="2293938"/>
                      <a:pt x="909161" y="2293938"/>
                    </a:cubicBezTo>
                    <a:cubicBezTo>
                      <a:pt x="909161" y="2019415"/>
                      <a:pt x="909161" y="2019415"/>
                      <a:pt x="909161" y="2019415"/>
                    </a:cubicBezTo>
                    <a:cubicBezTo>
                      <a:pt x="978059" y="1994904"/>
                      <a:pt x="1022350" y="1931175"/>
                      <a:pt x="1022350" y="1857642"/>
                    </a:cubicBezTo>
                    <a:cubicBezTo>
                      <a:pt x="1022350" y="1759598"/>
                      <a:pt x="948531" y="1681163"/>
                      <a:pt x="850106" y="1681163"/>
                    </a:cubicBezTo>
                    <a:close/>
                    <a:moveTo>
                      <a:pt x="850826" y="230842"/>
                    </a:moveTo>
                    <a:cubicBezTo>
                      <a:pt x="688744" y="230842"/>
                      <a:pt x="561044" y="363453"/>
                      <a:pt x="561044" y="525534"/>
                    </a:cubicBezTo>
                    <a:cubicBezTo>
                      <a:pt x="561044" y="864430"/>
                      <a:pt x="561044" y="1033877"/>
                      <a:pt x="561044" y="1118601"/>
                    </a:cubicBezTo>
                    <a:lnTo>
                      <a:pt x="561044" y="1165225"/>
                    </a:lnTo>
                    <a:lnTo>
                      <a:pt x="1145520" y="1165225"/>
                    </a:lnTo>
                    <a:lnTo>
                      <a:pt x="1145520" y="1084017"/>
                    </a:lnTo>
                    <a:cubicBezTo>
                      <a:pt x="1145520" y="525534"/>
                      <a:pt x="1145520" y="525534"/>
                      <a:pt x="1145520" y="525534"/>
                    </a:cubicBezTo>
                    <a:cubicBezTo>
                      <a:pt x="1145520" y="363453"/>
                      <a:pt x="1012908" y="230842"/>
                      <a:pt x="850826" y="230842"/>
                    </a:cubicBezTo>
                    <a:close/>
                    <a:moveTo>
                      <a:pt x="850826" y="0"/>
                    </a:moveTo>
                    <a:cubicBezTo>
                      <a:pt x="1140608" y="0"/>
                      <a:pt x="1376363" y="235754"/>
                      <a:pt x="1376363" y="525534"/>
                    </a:cubicBezTo>
                    <a:lnTo>
                      <a:pt x="1376363" y="1165225"/>
                    </a:lnTo>
                    <a:lnTo>
                      <a:pt x="1704975" y="1165225"/>
                    </a:lnTo>
                    <a:lnTo>
                      <a:pt x="1704975" y="2765425"/>
                    </a:lnTo>
                    <a:lnTo>
                      <a:pt x="0" y="2765425"/>
                    </a:lnTo>
                    <a:lnTo>
                      <a:pt x="0" y="1165225"/>
                    </a:lnTo>
                    <a:lnTo>
                      <a:pt x="330200" y="1165225"/>
                    </a:lnTo>
                    <a:lnTo>
                      <a:pt x="330200" y="1084017"/>
                    </a:lnTo>
                    <a:cubicBezTo>
                      <a:pt x="330200" y="525534"/>
                      <a:pt x="330200" y="525534"/>
                      <a:pt x="330200" y="525534"/>
                    </a:cubicBezTo>
                    <a:cubicBezTo>
                      <a:pt x="330200" y="235754"/>
                      <a:pt x="561044" y="0"/>
                      <a:pt x="850826" y="0"/>
                    </a:cubicBezTo>
                    <a:close/>
                  </a:path>
                </a:pathLst>
              </a:custGeom>
              <a:grpFill/>
              <a:ln w="12700">
                <a:solidFill>
                  <a:srgbClr val="243A5E"/>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grpSp>
        <p:grpSp>
          <p:nvGrpSpPr>
            <p:cNvPr id="365" name="Group 364">
              <a:extLst>
                <a:ext uri="{FF2B5EF4-FFF2-40B4-BE49-F238E27FC236}">
                  <a16:creationId xmlns:a16="http://schemas.microsoft.com/office/drawing/2014/main" id="{BA8EFDAD-17AD-4C3B-84A1-056D1FA1E4E7}"/>
                </a:ext>
              </a:extLst>
            </p:cNvPr>
            <p:cNvGrpSpPr/>
            <p:nvPr/>
          </p:nvGrpSpPr>
          <p:grpSpPr>
            <a:xfrm>
              <a:off x="2111333" y="5869745"/>
              <a:ext cx="7599197" cy="360828"/>
              <a:chOff x="457200" y="5592008"/>
              <a:chExt cx="11273952" cy="352842"/>
            </a:xfrm>
          </p:grpSpPr>
          <p:sp>
            <p:nvSpPr>
              <p:cNvPr id="366" name="Freeform 230">
                <a:extLst>
                  <a:ext uri="{FF2B5EF4-FFF2-40B4-BE49-F238E27FC236}">
                    <a16:creationId xmlns:a16="http://schemas.microsoft.com/office/drawing/2014/main" id="{ED738AC4-1663-4F63-B6C7-F1BDCC7DD29C}"/>
                  </a:ext>
                </a:extLst>
              </p:cNvPr>
              <p:cNvSpPr/>
              <p:nvPr/>
            </p:nvSpPr>
            <p:spPr bwMode="auto">
              <a:xfrm>
                <a:off x="457200" y="5592008"/>
                <a:ext cx="11273952" cy="118937"/>
              </a:xfrm>
              <a:custGeom>
                <a:avLst/>
                <a:gdLst>
                  <a:gd name="connsiteX0" fmla="*/ 0 w 6119446"/>
                  <a:gd name="connsiteY0" fmla="*/ 0 h 464234"/>
                  <a:gd name="connsiteX1" fmla="*/ 0 w 6119446"/>
                  <a:gd name="connsiteY1" fmla="*/ 464234 h 464234"/>
                  <a:gd name="connsiteX2" fmla="*/ 6119446 w 6119446"/>
                  <a:gd name="connsiteY2" fmla="*/ 464234 h 464234"/>
                  <a:gd name="connsiteX3" fmla="*/ 6119446 w 6119446"/>
                  <a:gd name="connsiteY3" fmla="*/ 14068 h 464234"/>
                </a:gdLst>
                <a:ahLst/>
                <a:cxnLst>
                  <a:cxn ang="0">
                    <a:pos x="connsiteX0" y="connsiteY0"/>
                  </a:cxn>
                  <a:cxn ang="0">
                    <a:pos x="connsiteX1" y="connsiteY1"/>
                  </a:cxn>
                  <a:cxn ang="0">
                    <a:pos x="connsiteX2" y="connsiteY2"/>
                  </a:cxn>
                  <a:cxn ang="0">
                    <a:pos x="connsiteX3" y="connsiteY3"/>
                  </a:cxn>
                </a:cxnLst>
                <a:rect l="l" t="t" r="r" b="b"/>
                <a:pathLst>
                  <a:path w="6119446" h="464234">
                    <a:moveTo>
                      <a:pt x="0" y="0"/>
                    </a:moveTo>
                    <a:lnTo>
                      <a:pt x="0" y="464234"/>
                    </a:lnTo>
                    <a:lnTo>
                      <a:pt x="6119446" y="464234"/>
                    </a:lnTo>
                    <a:lnTo>
                      <a:pt x="6119446" y="14068"/>
                    </a:lnTo>
                  </a:path>
                </a:pathLst>
              </a:custGeom>
              <a:noFill/>
              <a:ln w="12700" cap="rnd" cmpd="sng" algn="ctr">
                <a:solidFill>
                  <a:srgbClr val="000000"/>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367" name="Straight Connector 366">
                <a:extLst>
                  <a:ext uri="{FF2B5EF4-FFF2-40B4-BE49-F238E27FC236}">
                    <a16:creationId xmlns:a16="http://schemas.microsoft.com/office/drawing/2014/main" id="{4FD553A7-9AA8-4E11-B004-CF20C43D6A54}"/>
                  </a:ext>
                </a:extLst>
              </p:cNvPr>
              <p:cNvCxnSpPr/>
              <p:nvPr/>
            </p:nvCxnSpPr>
            <p:spPr>
              <a:xfrm>
                <a:off x="6096000" y="5710947"/>
                <a:ext cx="0" cy="233903"/>
              </a:xfrm>
              <a:prstGeom prst="line">
                <a:avLst/>
              </a:prstGeom>
              <a:noFill/>
              <a:ln w="12700" cap="flat" cmpd="sng" algn="ctr">
                <a:solidFill>
                  <a:srgbClr val="000000"/>
                </a:solidFill>
                <a:prstDash val="solid"/>
                <a:headEnd type="none"/>
                <a:tailEnd type="triangle"/>
              </a:ln>
              <a:effectLst/>
            </p:spPr>
          </p:cxnSp>
        </p:grpSp>
        <p:sp>
          <p:nvSpPr>
            <p:cNvPr id="368" name="Rectangle 367">
              <a:extLst>
                <a:ext uri="{FF2B5EF4-FFF2-40B4-BE49-F238E27FC236}">
                  <a16:creationId xmlns:a16="http://schemas.microsoft.com/office/drawing/2014/main" id="{202D8931-5F0E-46B7-A7EE-4BAA1614FDE1}"/>
                </a:ext>
              </a:extLst>
            </p:cNvPr>
            <p:cNvSpPr/>
            <p:nvPr/>
          </p:nvSpPr>
          <p:spPr>
            <a:xfrm>
              <a:off x="2815168" y="6300205"/>
              <a:ext cx="6096000" cy="286232"/>
            </a:xfrm>
            <a:prstGeom prst="rect">
              <a:avLst/>
            </a:prstGeom>
          </p:spPr>
          <p:txBody>
            <a:bodyPr>
              <a:spAutoFit/>
            </a:bodyPr>
            <a:lstStyle/>
            <a:p>
              <a:pPr algn="ctr" defTabSz="914102" fontAlgn="base">
                <a:lnSpc>
                  <a:spcPct val="90000"/>
                </a:lnSpc>
                <a:spcBef>
                  <a:spcPct val="0"/>
                </a:spcBef>
                <a:spcAft>
                  <a:spcPct val="0"/>
                </a:spcAft>
                <a:defRPr/>
              </a:pPr>
              <a:r>
                <a:rPr lang="en-US" sz="1400" b="1">
                  <a:solidFill>
                    <a:srgbClr val="000000"/>
                  </a:solidFill>
                  <a:ea typeface="Segoe UI" pitchFamily="34" charset="0"/>
                  <a:cs typeface="Segoe UI" pitchFamily="34" charset="0"/>
                </a:rPr>
                <a:t>Governance &amp; Enterprise Security  </a:t>
              </a:r>
            </a:p>
          </p:txBody>
        </p:sp>
        <p:sp>
          <p:nvSpPr>
            <p:cNvPr id="369" name="building_5" title="Icon of a building with columns in a row and a triangular top">
              <a:extLst>
                <a:ext uri="{FF2B5EF4-FFF2-40B4-BE49-F238E27FC236}">
                  <a16:creationId xmlns:a16="http://schemas.microsoft.com/office/drawing/2014/main" id="{79B2AF19-0E9A-4DB2-906C-2AEDBD56BA17}"/>
                </a:ext>
              </a:extLst>
            </p:cNvPr>
            <p:cNvSpPr>
              <a:spLocks noChangeAspect="1" noEditPoints="1"/>
            </p:cNvSpPr>
            <p:nvPr/>
          </p:nvSpPr>
          <p:spPr bwMode="auto">
            <a:xfrm>
              <a:off x="3800141" y="6197040"/>
              <a:ext cx="428301" cy="366864"/>
            </a:xfrm>
            <a:custGeom>
              <a:avLst/>
              <a:gdLst>
                <a:gd name="T0" fmla="*/ 178 w 244"/>
                <a:gd name="T1" fmla="*/ 28 h 209"/>
                <a:gd name="T2" fmla="*/ 244 w 244"/>
                <a:gd name="T3" fmla="*/ 62 h 209"/>
                <a:gd name="T4" fmla="*/ 0 w 244"/>
                <a:gd name="T5" fmla="*/ 62 h 209"/>
                <a:gd name="T6" fmla="*/ 122 w 244"/>
                <a:gd name="T7" fmla="*/ 0 h 209"/>
                <a:gd name="T8" fmla="*/ 178 w 244"/>
                <a:gd name="T9" fmla="*/ 28 h 209"/>
                <a:gd name="T10" fmla="*/ 20 w 244"/>
                <a:gd name="T11" fmla="*/ 190 h 209"/>
                <a:gd name="T12" fmla="*/ 13 w 244"/>
                <a:gd name="T13" fmla="*/ 209 h 209"/>
                <a:gd name="T14" fmla="*/ 232 w 244"/>
                <a:gd name="T15" fmla="*/ 209 h 209"/>
                <a:gd name="T16" fmla="*/ 217 w 244"/>
                <a:gd name="T17" fmla="*/ 171 h 209"/>
                <a:gd name="T18" fmla="*/ 27 w 244"/>
                <a:gd name="T19" fmla="*/ 171 h 209"/>
                <a:gd name="T20" fmla="*/ 20 w 244"/>
                <a:gd name="T21" fmla="*/ 190 h 209"/>
                <a:gd name="T22" fmla="*/ 27 w 244"/>
                <a:gd name="T23" fmla="*/ 171 h 209"/>
                <a:gd name="T24" fmla="*/ 27 w 244"/>
                <a:gd name="T25" fmla="*/ 62 h 209"/>
                <a:gd name="T26" fmla="*/ 217 w 244"/>
                <a:gd name="T27" fmla="*/ 171 h 209"/>
                <a:gd name="T28" fmla="*/ 217 w 244"/>
                <a:gd name="T29" fmla="*/ 62 h 209"/>
                <a:gd name="T30" fmla="*/ 185 w 244"/>
                <a:gd name="T31" fmla="*/ 171 h 209"/>
                <a:gd name="T32" fmla="*/ 185 w 244"/>
                <a:gd name="T33" fmla="*/ 62 h 209"/>
                <a:gd name="T34" fmla="*/ 154 w 244"/>
                <a:gd name="T35" fmla="*/ 171 h 209"/>
                <a:gd name="T36" fmla="*/ 154 w 244"/>
                <a:gd name="T37" fmla="*/ 62 h 209"/>
                <a:gd name="T38" fmla="*/ 122 w 244"/>
                <a:gd name="T39" fmla="*/ 171 h 209"/>
                <a:gd name="T40" fmla="*/ 122 w 244"/>
                <a:gd name="T41" fmla="*/ 62 h 209"/>
                <a:gd name="T42" fmla="*/ 90 w 244"/>
                <a:gd name="T43" fmla="*/ 171 h 209"/>
                <a:gd name="T44" fmla="*/ 90 w 244"/>
                <a:gd name="T45" fmla="*/ 62 h 209"/>
                <a:gd name="T46" fmla="*/ 59 w 244"/>
                <a:gd name="T47" fmla="*/ 171 h 209"/>
                <a:gd name="T48" fmla="*/ 59 w 244"/>
                <a:gd name="T49"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4" h="209">
                  <a:moveTo>
                    <a:pt x="178" y="28"/>
                  </a:moveTo>
                  <a:lnTo>
                    <a:pt x="244" y="62"/>
                  </a:lnTo>
                  <a:lnTo>
                    <a:pt x="0" y="62"/>
                  </a:lnTo>
                  <a:lnTo>
                    <a:pt x="122" y="0"/>
                  </a:lnTo>
                  <a:lnTo>
                    <a:pt x="178" y="28"/>
                  </a:lnTo>
                  <a:moveTo>
                    <a:pt x="20" y="190"/>
                  </a:moveTo>
                  <a:lnTo>
                    <a:pt x="13" y="209"/>
                  </a:lnTo>
                  <a:lnTo>
                    <a:pt x="232" y="209"/>
                  </a:lnTo>
                  <a:lnTo>
                    <a:pt x="217" y="171"/>
                  </a:lnTo>
                  <a:lnTo>
                    <a:pt x="27" y="171"/>
                  </a:lnTo>
                  <a:lnTo>
                    <a:pt x="20" y="190"/>
                  </a:lnTo>
                  <a:moveTo>
                    <a:pt x="27" y="171"/>
                  </a:moveTo>
                  <a:lnTo>
                    <a:pt x="27" y="62"/>
                  </a:lnTo>
                  <a:moveTo>
                    <a:pt x="217" y="171"/>
                  </a:moveTo>
                  <a:lnTo>
                    <a:pt x="217" y="62"/>
                  </a:lnTo>
                  <a:moveTo>
                    <a:pt x="185" y="171"/>
                  </a:moveTo>
                  <a:lnTo>
                    <a:pt x="185" y="62"/>
                  </a:lnTo>
                  <a:moveTo>
                    <a:pt x="154" y="171"/>
                  </a:moveTo>
                  <a:lnTo>
                    <a:pt x="154" y="62"/>
                  </a:lnTo>
                  <a:moveTo>
                    <a:pt x="122" y="171"/>
                  </a:moveTo>
                  <a:lnTo>
                    <a:pt x="122" y="62"/>
                  </a:lnTo>
                  <a:moveTo>
                    <a:pt x="90" y="171"/>
                  </a:moveTo>
                  <a:lnTo>
                    <a:pt x="90" y="62"/>
                  </a:lnTo>
                  <a:moveTo>
                    <a:pt x="59" y="171"/>
                  </a:moveTo>
                  <a:lnTo>
                    <a:pt x="59" y="62"/>
                  </a:lnTo>
                </a:path>
              </a:pathLst>
            </a:custGeom>
            <a:noFill/>
            <a:ln w="19050" cap="flat">
              <a:solidFill>
                <a:srgbClr val="0078D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grpSp>
          <p:nvGrpSpPr>
            <p:cNvPr id="20" name="Group 19">
              <a:extLst>
                <a:ext uri="{FF2B5EF4-FFF2-40B4-BE49-F238E27FC236}">
                  <a16:creationId xmlns:a16="http://schemas.microsoft.com/office/drawing/2014/main" id="{FD5BF700-9573-4A61-8933-57BA5FFF89EA}"/>
                </a:ext>
              </a:extLst>
            </p:cNvPr>
            <p:cNvGrpSpPr/>
            <p:nvPr/>
          </p:nvGrpSpPr>
          <p:grpSpPr>
            <a:xfrm>
              <a:off x="7893179" y="2797240"/>
              <a:ext cx="1511163" cy="1190005"/>
              <a:chOff x="7893179" y="2797240"/>
              <a:chExt cx="1511163" cy="1190005"/>
            </a:xfrm>
          </p:grpSpPr>
          <p:sp>
            <p:nvSpPr>
              <p:cNvPr id="358" name="TextBox 357">
                <a:extLst>
                  <a:ext uri="{FF2B5EF4-FFF2-40B4-BE49-F238E27FC236}">
                    <a16:creationId xmlns:a16="http://schemas.microsoft.com/office/drawing/2014/main" id="{9FA4CE44-18BC-49AB-AF76-7E72F4A7C9FD}"/>
                  </a:ext>
                </a:extLst>
              </p:cNvPr>
              <p:cNvSpPr txBox="1"/>
              <p:nvPr/>
            </p:nvSpPr>
            <p:spPr>
              <a:xfrm>
                <a:off x="7941200" y="3741024"/>
                <a:ext cx="1460535" cy="246221"/>
              </a:xfrm>
              <a:prstGeom prst="rect">
                <a:avLst/>
              </a:prstGeom>
              <a:noFill/>
            </p:spPr>
            <p:txBody>
              <a:bodyPr wrap="square" lIns="0" tIns="0" rIns="0" bIns="0" rtlCol="0" anchor="ctr" anchorCtr="0">
                <a:spAutoFit/>
              </a:bodyPr>
              <a:lstStyle/>
              <a:p>
                <a:pPr algn="ctr" defTabSz="914367">
                  <a:defRPr/>
                </a:pPr>
                <a:r>
                  <a:rPr lang="en-US" sz="800">
                    <a:gradFill>
                      <a:gsLst>
                        <a:gs pos="2917">
                          <a:srgbClr val="1A1A1A"/>
                        </a:gs>
                        <a:gs pos="30000">
                          <a:srgbClr val="1A1A1A"/>
                        </a:gs>
                      </a:gsLst>
                      <a:lin ang="5400000" scaled="0"/>
                    </a:gradFill>
                    <a:cs typeface="Segoe UI" panose="020B0502040204020203" pitchFamily="34" charset="0"/>
                  </a:rPr>
                  <a:t>Leader in the Magic </a:t>
                </a:r>
              </a:p>
              <a:p>
                <a:pPr algn="ctr" defTabSz="914367">
                  <a:defRPr/>
                </a:pPr>
                <a:r>
                  <a:rPr lang="en-US" sz="800">
                    <a:gradFill>
                      <a:gsLst>
                        <a:gs pos="2917">
                          <a:srgbClr val="1A1A1A"/>
                        </a:gs>
                        <a:gs pos="30000">
                          <a:srgbClr val="1A1A1A"/>
                        </a:gs>
                      </a:gsLst>
                      <a:lin ang="5400000" scaled="0"/>
                    </a:gradFill>
                    <a:cs typeface="Segoe UI" panose="020B0502040204020203" pitchFamily="34" charset="0"/>
                  </a:rPr>
                  <a:t>Quadrant for BI and Analytics</a:t>
                </a:r>
              </a:p>
            </p:txBody>
          </p:sp>
          <p:sp>
            <p:nvSpPr>
              <p:cNvPr id="370" name="Freeform: Shape 282">
                <a:extLst>
                  <a:ext uri="{FF2B5EF4-FFF2-40B4-BE49-F238E27FC236}">
                    <a16:creationId xmlns:a16="http://schemas.microsoft.com/office/drawing/2014/main" id="{A3BDBF95-9A73-4F40-AB13-0715C9DD974E}"/>
                  </a:ext>
                </a:extLst>
              </p:cNvPr>
              <p:cNvSpPr/>
              <p:nvPr/>
            </p:nvSpPr>
            <p:spPr>
              <a:xfrm>
                <a:off x="8316966" y="3112429"/>
                <a:ext cx="668008" cy="481795"/>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Calibri" panose="020F0502020204030204"/>
                </a:endParaRPr>
              </a:p>
            </p:txBody>
          </p:sp>
          <p:sp>
            <p:nvSpPr>
              <p:cNvPr id="371" name="TextBox 370">
                <a:extLst>
                  <a:ext uri="{FF2B5EF4-FFF2-40B4-BE49-F238E27FC236}">
                    <a16:creationId xmlns:a16="http://schemas.microsoft.com/office/drawing/2014/main" id="{2EA07D12-9E35-4A3D-B1BD-94CFF2E7B0A5}"/>
                  </a:ext>
                </a:extLst>
              </p:cNvPr>
              <p:cNvSpPr txBox="1"/>
              <p:nvPr/>
            </p:nvSpPr>
            <p:spPr>
              <a:xfrm>
                <a:off x="7893179" y="2797240"/>
                <a:ext cx="1511163" cy="138499"/>
              </a:xfrm>
              <a:prstGeom prst="rect">
                <a:avLst/>
              </a:prstGeom>
              <a:noFill/>
            </p:spPr>
            <p:txBody>
              <a:bodyPr wrap="square" lIns="0" tIns="0" rIns="0" bIns="0" rtlCol="0">
                <a:spAutoFit/>
              </a:bodyPr>
              <a:lstStyle/>
              <a:p>
                <a:pPr algn="ctr" defTabSz="914367">
                  <a:lnSpc>
                    <a:spcPct val="90000"/>
                  </a:lnSpc>
                  <a:defRPr/>
                </a:pPr>
                <a:r>
                  <a:rPr lang="en-US" sz="1000">
                    <a:solidFill>
                      <a:srgbClr val="000000"/>
                    </a:solidFill>
                    <a:latin typeface="Segoe UI Semibold"/>
                  </a:rPr>
                  <a:t>Power BI Premium</a:t>
                </a:r>
              </a:p>
            </p:txBody>
          </p:sp>
        </p:grpSp>
        <p:sp>
          <p:nvSpPr>
            <p:cNvPr id="392" name="TextBox 391">
              <a:extLst>
                <a:ext uri="{FF2B5EF4-FFF2-40B4-BE49-F238E27FC236}">
                  <a16:creationId xmlns:a16="http://schemas.microsoft.com/office/drawing/2014/main" id="{86F8F462-0607-4CCD-80FB-152A183E5665}"/>
                </a:ext>
              </a:extLst>
            </p:cNvPr>
            <p:cNvSpPr txBox="1"/>
            <p:nvPr/>
          </p:nvSpPr>
          <p:spPr>
            <a:xfrm>
              <a:off x="7629197" y="1164591"/>
              <a:ext cx="2039128" cy="215444"/>
            </a:xfrm>
            <a:prstGeom prst="rect">
              <a:avLst/>
            </a:prstGeom>
            <a:noFill/>
          </p:spPr>
          <p:txBody>
            <a:bodyPr wrap="square" lIns="0" tIns="0" rIns="0" bIns="0" rtlCol="0">
              <a:spAutoFit/>
            </a:bodyPr>
            <a:lstStyle/>
            <a:p>
              <a:pPr algn="ctr" defTabSz="914367">
                <a:defRPr/>
              </a:pPr>
              <a:r>
                <a:rPr lang="en-US" sz="1400">
                  <a:solidFill>
                    <a:srgbClr val="0078D4"/>
                  </a:solidFill>
                  <a:latin typeface="Segoe UI Semibold"/>
                </a:rPr>
                <a:t>Data Visualization</a:t>
              </a:r>
            </a:p>
          </p:txBody>
        </p:sp>
        <p:sp>
          <p:nvSpPr>
            <p:cNvPr id="410" name="TextBox 409">
              <a:extLst>
                <a:ext uri="{FF2B5EF4-FFF2-40B4-BE49-F238E27FC236}">
                  <a16:creationId xmlns:a16="http://schemas.microsoft.com/office/drawing/2014/main" id="{231F8992-9916-42DF-ABED-F35299EE2435}"/>
                </a:ext>
              </a:extLst>
            </p:cNvPr>
            <p:cNvSpPr txBox="1"/>
            <p:nvPr/>
          </p:nvSpPr>
          <p:spPr>
            <a:xfrm>
              <a:off x="483480" y="1304621"/>
              <a:ext cx="1059585" cy="215444"/>
            </a:xfrm>
            <a:prstGeom prst="rect">
              <a:avLst/>
            </a:prstGeom>
            <a:noFill/>
          </p:spPr>
          <p:txBody>
            <a:bodyPr wrap="none" lIns="0" tIns="0" rIns="0" bIns="0" rtlCol="0">
              <a:spAutoFit/>
            </a:bodyPr>
            <a:lstStyle/>
            <a:p>
              <a:pPr algn="ctr" defTabSz="914367">
                <a:defRPr/>
              </a:pPr>
              <a:r>
                <a:rPr lang="en-US" sz="1400">
                  <a:solidFill>
                    <a:srgbClr val="0078D4"/>
                  </a:solidFill>
                  <a:latin typeface="Segoe UI Semibold"/>
                </a:rPr>
                <a:t>Data Sources</a:t>
              </a:r>
            </a:p>
          </p:txBody>
        </p:sp>
        <p:sp>
          <p:nvSpPr>
            <p:cNvPr id="10" name="TextBox 9">
              <a:extLst>
                <a:ext uri="{FF2B5EF4-FFF2-40B4-BE49-F238E27FC236}">
                  <a16:creationId xmlns:a16="http://schemas.microsoft.com/office/drawing/2014/main" id="{E98B72D9-22D7-4F00-BD78-A01405E57837}"/>
                </a:ext>
              </a:extLst>
            </p:cNvPr>
            <p:cNvSpPr txBox="1"/>
            <p:nvPr/>
          </p:nvSpPr>
          <p:spPr>
            <a:xfrm>
              <a:off x="5142273" y="2743836"/>
              <a:ext cx="1675568"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Azure Synapse Analytics (Spark + Serverless + DWH)</a:t>
              </a:r>
            </a:p>
          </p:txBody>
        </p:sp>
        <p:sp>
          <p:nvSpPr>
            <p:cNvPr id="11" name="TextBox 10">
              <a:extLst>
                <a:ext uri="{FF2B5EF4-FFF2-40B4-BE49-F238E27FC236}">
                  <a16:creationId xmlns:a16="http://schemas.microsoft.com/office/drawing/2014/main" id="{2965123B-4FE0-4C53-BD27-465C62E549A4}"/>
                </a:ext>
              </a:extLst>
            </p:cNvPr>
            <p:cNvSpPr txBox="1"/>
            <p:nvPr/>
          </p:nvSpPr>
          <p:spPr>
            <a:xfrm>
              <a:off x="5009943" y="3802579"/>
              <a:ext cx="1922599"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lvl="0" algn="ctr">
                <a:defRPr/>
              </a:pPr>
              <a:r>
                <a:rPr lang="en-US" sz="800" b="0">
                  <a:latin typeface="Segoe UI" panose="020B0502040204020203" pitchFamily="34" charset="0"/>
                  <a:cs typeface="Segoe UI" panose="020B0502040204020203" pitchFamily="34" charset="0"/>
                </a:rPr>
                <a:t>limitless analytics service that </a:t>
              </a:r>
            </a:p>
            <a:p>
              <a:pPr lvl="0" algn="ctr">
                <a:defRPr/>
              </a:pPr>
              <a:r>
                <a:rPr lang="en-US" sz="800" b="0">
                  <a:latin typeface="Segoe UI" panose="020B0502040204020203" pitchFamily="34" charset="0"/>
                  <a:cs typeface="Segoe UI" panose="020B0502040204020203" pitchFamily="34" charset="0"/>
                </a:rPr>
                <a:t>brings together enterprise data warehousing and Big Data analytics</a:t>
              </a:r>
              <a:endParaRPr kumimoji="0" lang="en-US" sz="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endParaRPr>
            </a:p>
          </p:txBody>
        </p:sp>
        <p:cxnSp>
          <p:nvCxnSpPr>
            <p:cNvPr id="12" name="Straight Arrow Connector 11">
              <a:extLst>
                <a:ext uri="{FF2B5EF4-FFF2-40B4-BE49-F238E27FC236}">
                  <a16:creationId xmlns:a16="http://schemas.microsoft.com/office/drawing/2014/main" id="{0CCF4D4B-E1CB-4BC4-88AD-61BB825AB324}"/>
                </a:ext>
              </a:extLst>
            </p:cNvPr>
            <p:cNvCxnSpPr>
              <a:cxnSpLocks/>
            </p:cNvCxnSpPr>
            <p:nvPr/>
          </p:nvCxnSpPr>
          <p:spPr>
            <a:xfrm flipV="1">
              <a:off x="4360194" y="3229620"/>
              <a:ext cx="560034" cy="1"/>
            </a:xfrm>
            <a:prstGeom prst="straightConnector1">
              <a:avLst/>
            </a:prstGeom>
            <a:noFill/>
            <a:ln w="19050" cap="flat" cmpd="sng" algn="ctr">
              <a:solidFill>
                <a:srgbClr val="0078D4"/>
              </a:solidFill>
              <a:prstDash val="solid"/>
              <a:headEnd type="none" w="lg" len="med"/>
              <a:tailEnd type="arrow" w="lg" len="sm"/>
            </a:ln>
            <a:effectLst/>
          </p:spPr>
        </p:cxnSp>
        <p:grpSp>
          <p:nvGrpSpPr>
            <p:cNvPr id="15" name="Group 14">
              <a:extLst>
                <a:ext uri="{FF2B5EF4-FFF2-40B4-BE49-F238E27FC236}">
                  <a16:creationId xmlns:a16="http://schemas.microsoft.com/office/drawing/2014/main" id="{F9992C74-D95F-4A6F-8677-F122BBBB6D77}"/>
                </a:ext>
              </a:extLst>
            </p:cNvPr>
            <p:cNvGrpSpPr/>
            <p:nvPr/>
          </p:nvGrpSpPr>
          <p:grpSpPr>
            <a:xfrm>
              <a:off x="2551215" y="2727991"/>
              <a:ext cx="1861308" cy="1448048"/>
              <a:chOff x="2824046" y="2723293"/>
              <a:chExt cx="1861308" cy="1448048"/>
            </a:xfrm>
          </p:grpSpPr>
          <p:pic>
            <p:nvPicPr>
              <p:cNvPr id="3" name="Graphic 2" descr="Storage Files">
                <a:extLst>
                  <a:ext uri="{FF2B5EF4-FFF2-40B4-BE49-F238E27FC236}">
                    <a16:creationId xmlns:a16="http://schemas.microsoft.com/office/drawing/2014/main" id="{56B97888-8B28-4E41-A288-BE7898014A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36428" y="3094735"/>
                <a:ext cx="636544" cy="636544"/>
              </a:xfrm>
              <a:prstGeom prst="rect">
                <a:avLst/>
              </a:prstGeom>
            </p:spPr>
          </p:pic>
          <p:sp>
            <p:nvSpPr>
              <p:cNvPr id="7" name="TextBox 6">
                <a:extLst>
                  <a:ext uri="{FF2B5EF4-FFF2-40B4-BE49-F238E27FC236}">
                    <a16:creationId xmlns:a16="http://schemas.microsoft.com/office/drawing/2014/main" id="{1C1CC32B-8E58-4608-A58F-50BA1DC2A2BA}"/>
                  </a:ext>
                </a:extLst>
              </p:cNvPr>
              <p:cNvSpPr txBox="1"/>
              <p:nvPr/>
            </p:nvSpPr>
            <p:spPr>
              <a:xfrm>
                <a:off x="3073179" y="3802009"/>
                <a:ext cx="1471791" cy="369332"/>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algn="ctr">
                  <a:defRPr/>
                </a:pPr>
                <a:r>
                  <a:rPr lang="en-US" sz="800" b="0">
                    <a:latin typeface="Segoe UI" panose="020B0502040204020203" pitchFamily="34" charset="0"/>
                    <a:cs typeface="Segoe UI" panose="020B0502040204020203" pitchFamily="34" charset="0"/>
                  </a:rPr>
                  <a:t>Low-cost, tiered storage, with high availability/disaster recovery capabilities.</a:t>
                </a:r>
              </a:p>
            </p:txBody>
          </p:sp>
          <p:sp>
            <p:nvSpPr>
              <p:cNvPr id="14" name="TextBox 13">
                <a:extLst>
                  <a:ext uri="{FF2B5EF4-FFF2-40B4-BE49-F238E27FC236}">
                    <a16:creationId xmlns:a16="http://schemas.microsoft.com/office/drawing/2014/main" id="{689E6A69-77A0-4EE5-8BE1-60F2E6CB74AC}"/>
                  </a:ext>
                </a:extLst>
              </p:cNvPr>
              <p:cNvSpPr txBox="1"/>
              <p:nvPr/>
            </p:nvSpPr>
            <p:spPr>
              <a:xfrm>
                <a:off x="2824046" y="2723293"/>
                <a:ext cx="1861308" cy="276999"/>
              </a:xfrm>
              <a:prstGeom prst="rect">
                <a:avLst/>
              </a:prstGeom>
              <a:noFill/>
            </p:spPr>
            <p:txBody>
              <a:bodyPr wrap="square" lIns="0" tIns="0" rIns="0" bIns="0" rtlCol="0">
                <a:spAutoFit/>
              </a:bodyPr>
              <a:lstStyle/>
              <a:p>
                <a:pPr algn="ctr" defTabSz="914367">
                  <a:lnSpc>
                    <a:spcPct val="90000"/>
                  </a:lnSpc>
                  <a:defRPr/>
                </a:pPr>
                <a:r>
                  <a:rPr lang="en-US" sz="1000">
                    <a:solidFill>
                      <a:srgbClr val="000000"/>
                    </a:solidFill>
                    <a:latin typeface="Segoe UI Semibold"/>
                  </a:rPr>
                  <a:t>Storage Account </a:t>
                </a:r>
              </a:p>
              <a:p>
                <a:pPr algn="ctr" defTabSz="914367">
                  <a:lnSpc>
                    <a:spcPct val="90000"/>
                  </a:lnSpc>
                  <a:defRPr/>
                </a:pPr>
                <a:r>
                  <a:rPr lang="en-US" sz="1000">
                    <a:solidFill>
                      <a:srgbClr val="000000"/>
                    </a:solidFill>
                    <a:latin typeface="Segoe UI Semibold"/>
                  </a:rPr>
                  <a:t>ADLS Gen 2</a:t>
                </a:r>
              </a:p>
            </p:txBody>
          </p:sp>
        </p:grpSp>
        <p:cxnSp>
          <p:nvCxnSpPr>
            <p:cNvPr id="19" name="Straight Arrow Connector 18">
              <a:extLst>
                <a:ext uri="{FF2B5EF4-FFF2-40B4-BE49-F238E27FC236}">
                  <a16:creationId xmlns:a16="http://schemas.microsoft.com/office/drawing/2014/main" id="{2F076671-E697-40A7-8A88-88266548D304}"/>
                </a:ext>
              </a:extLst>
            </p:cNvPr>
            <p:cNvCxnSpPr>
              <a:cxnSpLocks/>
            </p:cNvCxnSpPr>
            <p:nvPr/>
          </p:nvCxnSpPr>
          <p:spPr>
            <a:xfrm flipV="1">
              <a:off x="7055685" y="3244529"/>
              <a:ext cx="560034" cy="1"/>
            </a:xfrm>
            <a:prstGeom prst="straightConnector1">
              <a:avLst/>
            </a:prstGeom>
            <a:noFill/>
            <a:ln w="19050" cap="flat" cmpd="sng" algn="ctr">
              <a:solidFill>
                <a:srgbClr val="0078D4"/>
              </a:solidFill>
              <a:prstDash val="solid"/>
              <a:headEnd type="none" w="lg" len="med"/>
              <a:tailEnd type="arrow" w="lg" len="sm"/>
            </a:ln>
            <a:effectLst/>
          </p:spPr>
        </p:cxnSp>
      </p:grpSp>
      <p:sp>
        <p:nvSpPr>
          <p:cNvPr id="4" name="Rectangle: Rounded Corners 3">
            <a:extLst>
              <a:ext uri="{FF2B5EF4-FFF2-40B4-BE49-F238E27FC236}">
                <a16:creationId xmlns:a16="http://schemas.microsoft.com/office/drawing/2014/main" id="{62F2353F-F3C4-45BB-AFBC-B1D3DDF5FF0B}"/>
              </a:ext>
            </a:extLst>
          </p:cNvPr>
          <p:cNvSpPr/>
          <p:nvPr/>
        </p:nvSpPr>
        <p:spPr bwMode="auto">
          <a:xfrm>
            <a:off x="5915015" y="2569204"/>
            <a:ext cx="1942141" cy="1838800"/>
          </a:xfrm>
          <a:prstGeom prst="roundRect">
            <a:avLst/>
          </a:prstGeom>
          <a:noFill/>
          <a:ln w="9525">
            <a:solidFill>
              <a:srgbClr val="FF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Arrow Connector 4">
            <a:extLst>
              <a:ext uri="{FF2B5EF4-FFF2-40B4-BE49-F238E27FC236}">
                <a16:creationId xmlns:a16="http://schemas.microsoft.com/office/drawing/2014/main" id="{6D33279C-6EDA-48FA-86C6-61AD5D14E59A}"/>
              </a:ext>
            </a:extLst>
          </p:cNvPr>
          <p:cNvCxnSpPr>
            <a:cxnSpLocks/>
          </p:cNvCxnSpPr>
          <p:nvPr/>
        </p:nvCxnSpPr>
        <p:spPr>
          <a:xfrm>
            <a:off x="6882477" y="2220175"/>
            <a:ext cx="0" cy="346685"/>
          </a:xfrm>
          <a:prstGeom prst="straightConnector1">
            <a:avLst/>
          </a:prstGeom>
          <a:noFill/>
          <a:ln w="12700" cap="flat" cmpd="sng" algn="ctr">
            <a:solidFill>
              <a:srgbClr val="FF0000"/>
            </a:solidFill>
            <a:prstDash val="sysDash"/>
            <a:headEnd type="none" w="lg" len="med"/>
            <a:tailEnd type="arrow" w="lg" len="sm"/>
          </a:ln>
          <a:effectLst/>
        </p:spPr>
      </p:cxnSp>
      <p:sp>
        <p:nvSpPr>
          <p:cNvPr id="16" name="TextBox 15">
            <a:extLst>
              <a:ext uri="{FF2B5EF4-FFF2-40B4-BE49-F238E27FC236}">
                <a16:creationId xmlns:a16="http://schemas.microsoft.com/office/drawing/2014/main" id="{5FA9AB01-47D6-49FF-AC72-699730C03BEB}"/>
              </a:ext>
            </a:extLst>
          </p:cNvPr>
          <p:cNvSpPr txBox="1"/>
          <p:nvPr/>
        </p:nvSpPr>
        <p:spPr>
          <a:xfrm>
            <a:off x="6016684" y="1712724"/>
            <a:ext cx="1731586" cy="415498"/>
          </a:xfrm>
          <a:prstGeom prst="rect">
            <a:avLst/>
          </a:prstGeom>
          <a:noFill/>
        </p:spPr>
        <p:txBody>
          <a:bodyPr wrap="square" lIns="0" tIns="0" rIns="0" bIns="0" rtlCol="0" anchor="ctr" anchorCtr="0">
            <a:spAutoFit/>
          </a:bodyPr>
          <a:lstStyle/>
          <a:p>
            <a:pPr defTabSz="914367">
              <a:defRPr/>
            </a:pPr>
            <a:r>
              <a:rPr lang="en-US" sz="900" b="1">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Enterprise data models </a:t>
            </a:r>
            <a:r>
              <a:rPr lang="en-US" sz="900">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can be deployed to a</a:t>
            </a:r>
            <a:r>
              <a:rPr lang="en-US" sz="900" b="1">
                <a:solidFill>
                  <a:srgbClr val="0070C0"/>
                </a:solidFill>
                <a:latin typeface="Segoe UI" panose="020B0502040204020203" pitchFamily="34" charset="0"/>
                <a:cs typeface="Segoe UI" panose="020B0502040204020203" pitchFamily="34" charset="0"/>
              </a:rPr>
              <a:t> </a:t>
            </a:r>
            <a:r>
              <a:rPr lang="en-US" sz="900" b="1">
                <a:solidFill>
                  <a:srgbClr val="0070C0"/>
                </a:solidFill>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Synapse SQL pool in Azure Synapse</a:t>
            </a:r>
            <a:r>
              <a:rPr lang="en-US" sz="900">
                <a:gradFill>
                  <a:gsLst>
                    <a:gs pos="2917">
                      <a:srgbClr val="1A1A1A"/>
                    </a:gs>
                    <a:gs pos="30000">
                      <a:srgbClr val="1A1A1A"/>
                    </a:gs>
                  </a:gsLst>
                  <a:lin ang="5400000" scaled="0"/>
                </a:gradFill>
                <a:latin typeface="Segoe UI" panose="020B0502040204020203" pitchFamily="34" charset="0"/>
                <a:cs typeface="Segoe UI" panose="020B0502040204020203" pitchFamily="34" charset="0"/>
              </a:rPr>
              <a:t>. </a:t>
            </a:r>
          </a:p>
        </p:txBody>
      </p:sp>
      <p:grpSp>
        <p:nvGrpSpPr>
          <p:cNvPr id="8" name="Group 7">
            <a:extLst>
              <a:ext uri="{FF2B5EF4-FFF2-40B4-BE49-F238E27FC236}">
                <a16:creationId xmlns:a16="http://schemas.microsoft.com/office/drawing/2014/main" id="{35B153C1-2B39-4184-9F71-FE78F1C94766}"/>
              </a:ext>
            </a:extLst>
          </p:cNvPr>
          <p:cNvGrpSpPr/>
          <p:nvPr/>
        </p:nvGrpSpPr>
        <p:grpSpPr>
          <a:xfrm>
            <a:off x="8141074" y="3602016"/>
            <a:ext cx="2312834" cy="2196677"/>
            <a:chOff x="8141074" y="3602016"/>
            <a:chExt cx="2312834" cy="2196677"/>
          </a:xfrm>
        </p:grpSpPr>
        <p:grpSp>
          <p:nvGrpSpPr>
            <p:cNvPr id="45" name="Group 44">
              <a:extLst>
                <a:ext uri="{FF2B5EF4-FFF2-40B4-BE49-F238E27FC236}">
                  <a16:creationId xmlns:a16="http://schemas.microsoft.com/office/drawing/2014/main" id="{E3DB0F09-D751-45C2-B15A-0BAE8B234808}"/>
                </a:ext>
              </a:extLst>
            </p:cNvPr>
            <p:cNvGrpSpPr/>
            <p:nvPr/>
          </p:nvGrpSpPr>
          <p:grpSpPr>
            <a:xfrm>
              <a:off x="9842482" y="3638665"/>
              <a:ext cx="455467" cy="464244"/>
              <a:chOff x="7158422" y="1607015"/>
              <a:chExt cx="2726357" cy="2778897"/>
            </a:xfrm>
          </p:grpSpPr>
          <p:sp>
            <p:nvSpPr>
              <p:cNvPr id="46" name="Freeform 242">
                <a:extLst>
                  <a:ext uri="{FF2B5EF4-FFF2-40B4-BE49-F238E27FC236}">
                    <a16:creationId xmlns:a16="http://schemas.microsoft.com/office/drawing/2014/main" id="{7CDA9B8C-3F8E-4DD3-AE8A-E14831FE0653}"/>
                  </a:ext>
                </a:extLst>
              </p:cNvPr>
              <p:cNvSpPr/>
              <p:nvPr/>
            </p:nvSpPr>
            <p:spPr bwMode="auto">
              <a:xfrm>
                <a:off x="7158422" y="29718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47" name="Diamond 46">
                <a:extLst>
                  <a:ext uri="{FF2B5EF4-FFF2-40B4-BE49-F238E27FC236}">
                    <a16:creationId xmlns:a16="http://schemas.microsoft.com/office/drawing/2014/main" id="{9EDDD8B7-3FE8-4464-89A9-7F76B9C6B456}"/>
                  </a:ext>
                </a:extLst>
              </p:cNvPr>
              <p:cNvSpPr/>
              <p:nvPr/>
            </p:nvSpPr>
            <p:spPr bwMode="auto">
              <a:xfrm>
                <a:off x="7158422" y="2521415"/>
                <a:ext cx="2726357" cy="1414112"/>
              </a:xfrm>
              <a:prstGeom prst="diamond">
                <a:avLst/>
              </a:prstGeom>
              <a:solidFill>
                <a:srgbClr val="0078D7"/>
              </a:solid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8" name="Freeform 243">
                <a:extLst>
                  <a:ext uri="{FF2B5EF4-FFF2-40B4-BE49-F238E27FC236}">
                    <a16:creationId xmlns:a16="http://schemas.microsoft.com/office/drawing/2014/main" id="{88ACB504-A8CD-4CE6-8C2E-C606DB9540F1}"/>
                  </a:ext>
                </a:extLst>
              </p:cNvPr>
              <p:cNvSpPr/>
              <p:nvPr/>
            </p:nvSpPr>
            <p:spPr bwMode="auto">
              <a:xfrm>
                <a:off x="7158422" y="2057400"/>
                <a:ext cx="2726357" cy="1414112"/>
              </a:xfrm>
              <a:custGeom>
                <a:avLst/>
                <a:gdLst>
                  <a:gd name="connsiteX0" fmla="*/ 1363179 w 2726357"/>
                  <a:gd name="connsiteY0" fmla="*/ 0 h 1414112"/>
                  <a:gd name="connsiteX1" fmla="*/ 1859701 w 2726357"/>
                  <a:gd name="connsiteY1" fmla="*/ 257537 h 1414112"/>
                  <a:gd name="connsiteX2" fmla="*/ 2722177 w 2726357"/>
                  <a:gd name="connsiteY2" fmla="*/ 257537 h 1414112"/>
                  <a:gd name="connsiteX3" fmla="*/ 2722177 w 2726357"/>
                  <a:gd name="connsiteY3" fmla="*/ 704888 h 1414112"/>
                  <a:gd name="connsiteX4" fmla="*/ 2726357 w 2726357"/>
                  <a:gd name="connsiteY4" fmla="*/ 707056 h 1414112"/>
                  <a:gd name="connsiteX5" fmla="*/ 1363179 w 2726357"/>
                  <a:gd name="connsiteY5" fmla="*/ 1414112 h 1414112"/>
                  <a:gd name="connsiteX6" fmla="*/ 3650 w 2726357"/>
                  <a:gd name="connsiteY6" fmla="*/ 708949 h 1414112"/>
                  <a:gd name="connsiteX7" fmla="*/ 1202 w 2726357"/>
                  <a:gd name="connsiteY7" fmla="*/ 708949 h 1414112"/>
                  <a:gd name="connsiteX8" fmla="*/ 1202 w 2726357"/>
                  <a:gd name="connsiteY8" fmla="*/ 707680 h 1414112"/>
                  <a:gd name="connsiteX9" fmla="*/ 0 w 2726357"/>
                  <a:gd name="connsiteY9" fmla="*/ 707056 h 1414112"/>
                  <a:gd name="connsiteX10" fmla="*/ 1202 w 2726357"/>
                  <a:gd name="connsiteY10" fmla="*/ 706433 h 1414112"/>
                  <a:gd name="connsiteX11" fmla="*/ 1202 w 2726357"/>
                  <a:gd name="connsiteY11" fmla="*/ 257537 h 1414112"/>
                  <a:gd name="connsiteX12" fmla="*/ 866657 w 2726357"/>
                  <a:gd name="connsiteY12" fmla="*/ 257537 h 141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6357" h="1414112">
                    <a:moveTo>
                      <a:pt x="1363179" y="0"/>
                    </a:moveTo>
                    <a:lnTo>
                      <a:pt x="1859701" y="257537"/>
                    </a:lnTo>
                    <a:lnTo>
                      <a:pt x="2722177" y="257537"/>
                    </a:lnTo>
                    <a:lnTo>
                      <a:pt x="2722177" y="704888"/>
                    </a:lnTo>
                    <a:lnTo>
                      <a:pt x="2726357" y="707056"/>
                    </a:lnTo>
                    <a:lnTo>
                      <a:pt x="1363179" y="1414112"/>
                    </a:lnTo>
                    <a:lnTo>
                      <a:pt x="3650" y="708949"/>
                    </a:lnTo>
                    <a:lnTo>
                      <a:pt x="1202" y="708949"/>
                    </a:lnTo>
                    <a:lnTo>
                      <a:pt x="1202" y="707680"/>
                    </a:lnTo>
                    <a:lnTo>
                      <a:pt x="0" y="707056"/>
                    </a:lnTo>
                    <a:lnTo>
                      <a:pt x="1202" y="706433"/>
                    </a:lnTo>
                    <a:lnTo>
                      <a:pt x="1202" y="257537"/>
                    </a:lnTo>
                    <a:lnTo>
                      <a:pt x="866657" y="257537"/>
                    </a:lnTo>
                    <a:close/>
                  </a:path>
                </a:pathLst>
              </a:custGeom>
              <a:solidFill>
                <a:srgbClr val="1070C4"/>
              </a:solidFill>
              <a:ln w="12700" cap="rnd">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49" name="Diamond 48">
                <a:extLst>
                  <a:ext uri="{FF2B5EF4-FFF2-40B4-BE49-F238E27FC236}">
                    <a16:creationId xmlns:a16="http://schemas.microsoft.com/office/drawing/2014/main" id="{15FBBEDC-1CAE-4528-8756-5371E1568235}"/>
                  </a:ext>
                </a:extLst>
              </p:cNvPr>
              <p:cNvSpPr/>
              <p:nvPr/>
            </p:nvSpPr>
            <p:spPr bwMode="auto">
              <a:xfrm>
                <a:off x="7158422" y="1607015"/>
                <a:ext cx="2726357" cy="1414112"/>
              </a:xfrm>
              <a:prstGeom prst="diamond">
                <a:avLst/>
              </a:prstGeom>
              <a:solidFill>
                <a:srgbClr val="0078D7"/>
              </a:solidFill>
              <a:ln w="127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50" name="Picture 49">
              <a:extLst>
                <a:ext uri="{FF2B5EF4-FFF2-40B4-BE49-F238E27FC236}">
                  <a16:creationId xmlns:a16="http://schemas.microsoft.com/office/drawing/2014/main" id="{934F8BBE-2CB7-46F0-AA5F-9BA1F9399FA3}"/>
                </a:ext>
              </a:extLst>
            </p:cNvPr>
            <p:cNvPicPr>
              <a:picLocks noChangeAspect="1"/>
            </p:cNvPicPr>
            <p:nvPr/>
          </p:nvPicPr>
          <p:blipFill>
            <a:blip r:embed="rId5"/>
            <a:stretch>
              <a:fillRect/>
            </a:stretch>
          </p:blipFill>
          <p:spPr>
            <a:xfrm>
              <a:off x="9820922" y="5193396"/>
              <a:ext cx="514929" cy="514929"/>
            </a:xfrm>
            <a:prstGeom prst="rect">
              <a:avLst/>
            </a:prstGeom>
          </p:spPr>
        </p:pic>
        <p:sp>
          <p:nvSpPr>
            <p:cNvPr id="51" name="Rectangle 50">
              <a:extLst>
                <a:ext uri="{FF2B5EF4-FFF2-40B4-BE49-F238E27FC236}">
                  <a16:creationId xmlns:a16="http://schemas.microsoft.com/office/drawing/2014/main" id="{D8027A8D-55EC-4F02-8845-25F2509EE3FA}"/>
                </a:ext>
              </a:extLst>
            </p:cNvPr>
            <p:cNvSpPr/>
            <p:nvPr/>
          </p:nvSpPr>
          <p:spPr bwMode="auto">
            <a:xfrm>
              <a:off x="8165350" y="3602016"/>
              <a:ext cx="2188904" cy="2196677"/>
            </a:xfrm>
            <a:prstGeom prst="rect">
              <a:avLst/>
            </a:prstGeom>
            <a:solidFill>
              <a:schemeClr val="bg1">
                <a:lumMod val="75000"/>
              </a:schemeClr>
            </a:solidFill>
            <a:ln w="9525">
              <a:solidFill>
                <a:srgbClr val="FF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2" name="Database_EFC7" title="Icon of a cylinder">
              <a:extLst>
                <a:ext uri="{FF2B5EF4-FFF2-40B4-BE49-F238E27FC236}">
                  <a16:creationId xmlns:a16="http://schemas.microsoft.com/office/drawing/2014/main" id="{05E3C315-904D-4786-80A1-B7A462E8AD8C}"/>
                </a:ext>
              </a:extLst>
            </p:cNvPr>
            <p:cNvSpPr>
              <a:spLocks noChangeAspect="1" noEditPoints="1"/>
            </p:cNvSpPr>
            <p:nvPr/>
          </p:nvSpPr>
          <p:spPr bwMode="auto">
            <a:xfrm>
              <a:off x="8243567" y="4350957"/>
              <a:ext cx="758357" cy="94010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Database_EFC7" title="Icon of a cylinder">
              <a:extLst>
                <a:ext uri="{FF2B5EF4-FFF2-40B4-BE49-F238E27FC236}">
                  <a16:creationId xmlns:a16="http://schemas.microsoft.com/office/drawing/2014/main" id="{A23763C8-FDFE-4B45-8730-338547B2185D}"/>
                </a:ext>
              </a:extLst>
            </p:cNvPr>
            <p:cNvSpPr>
              <a:spLocks noChangeAspect="1" noEditPoints="1"/>
            </p:cNvSpPr>
            <p:nvPr/>
          </p:nvSpPr>
          <p:spPr bwMode="auto">
            <a:xfrm>
              <a:off x="9627392" y="3952316"/>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Database_EFC7" title="Icon of a cylinder">
              <a:extLst>
                <a:ext uri="{FF2B5EF4-FFF2-40B4-BE49-F238E27FC236}">
                  <a16:creationId xmlns:a16="http://schemas.microsoft.com/office/drawing/2014/main" id="{D8834A00-9BAC-4392-B658-724A463D47B7}"/>
                </a:ext>
              </a:extLst>
            </p:cNvPr>
            <p:cNvSpPr>
              <a:spLocks noChangeAspect="1" noEditPoints="1"/>
            </p:cNvSpPr>
            <p:nvPr/>
          </p:nvSpPr>
          <p:spPr bwMode="auto">
            <a:xfrm>
              <a:off x="9627392" y="4656944"/>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Database_EFC7" title="Icon of a cylinder">
              <a:extLst>
                <a:ext uri="{FF2B5EF4-FFF2-40B4-BE49-F238E27FC236}">
                  <a16:creationId xmlns:a16="http://schemas.microsoft.com/office/drawing/2014/main" id="{FA3C5F8C-0074-4740-9027-B7BE6C3D720E}"/>
                </a:ext>
              </a:extLst>
            </p:cNvPr>
            <p:cNvSpPr>
              <a:spLocks noChangeAspect="1" noEditPoints="1"/>
            </p:cNvSpPr>
            <p:nvPr/>
          </p:nvSpPr>
          <p:spPr bwMode="auto">
            <a:xfrm>
              <a:off x="9627392" y="5281671"/>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cxnSp>
          <p:nvCxnSpPr>
            <p:cNvPr id="56" name="Straight Connector 55">
              <a:extLst>
                <a:ext uri="{FF2B5EF4-FFF2-40B4-BE49-F238E27FC236}">
                  <a16:creationId xmlns:a16="http://schemas.microsoft.com/office/drawing/2014/main" id="{9DA7EA90-19AA-4D40-B773-F40859F88BB5}"/>
                </a:ext>
              </a:extLst>
            </p:cNvPr>
            <p:cNvCxnSpPr>
              <a:cxnSpLocks/>
              <a:stCxn id="59" idx="3"/>
              <a:endCxn id="53" idx="4"/>
            </p:cNvCxnSpPr>
            <p:nvPr/>
          </p:nvCxnSpPr>
          <p:spPr>
            <a:xfrm flipV="1">
              <a:off x="9088118" y="4264845"/>
              <a:ext cx="539274" cy="603678"/>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2E2729C-2F7E-4F18-8604-EEB99A0B61E9}"/>
                </a:ext>
              </a:extLst>
            </p:cNvPr>
            <p:cNvCxnSpPr>
              <a:cxnSpLocks/>
              <a:stCxn id="59" idx="3"/>
            </p:cNvCxnSpPr>
            <p:nvPr/>
          </p:nvCxnSpPr>
          <p:spPr>
            <a:xfrm>
              <a:off x="9088118" y="4868523"/>
              <a:ext cx="505804" cy="3382"/>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CA5F040-F7A3-4614-A0A6-746DBE64C2BB}"/>
                </a:ext>
              </a:extLst>
            </p:cNvPr>
            <p:cNvCxnSpPr>
              <a:cxnSpLocks/>
              <a:stCxn id="59" idx="3"/>
              <a:endCxn id="55" idx="4"/>
            </p:cNvCxnSpPr>
            <p:nvPr/>
          </p:nvCxnSpPr>
          <p:spPr>
            <a:xfrm>
              <a:off x="9088118" y="4868523"/>
              <a:ext cx="539274" cy="725677"/>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C2FF0A63-B3A1-4A38-A7E9-E1D6224398FB}"/>
                </a:ext>
              </a:extLst>
            </p:cNvPr>
            <p:cNvSpPr txBox="1"/>
            <p:nvPr/>
          </p:nvSpPr>
          <p:spPr>
            <a:xfrm>
              <a:off x="8141074" y="4730023"/>
              <a:ext cx="947044"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Data Warehouse</a:t>
              </a:r>
            </a:p>
          </p:txBody>
        </p:sp>
        <p:sp>
          <p:nvSpPr>
            <p:cNvPr id="60" name="TextBox 59">
              <a:extLst>
                <a:ext uri="{FF2B5EF4-FFF2-40B4-BE49-F238E27FC236}">
                  <a16:creationId xmlns:a16="http://schemas.microsoft.com/office/drawing/2014/main" id="{16387F35-FF26-41C4-A4C3-CDE4C7CD3524}"/>
                </a:ext>
              </a:extLst>
            </p:cNvPr>
            <p:cNvSpPr txBox="1"/>
            <p:nvPr/>
          </p:nvSpPr>
          <p:spPr>
            <a:xfrm>
              <a:off x="9472118" y="3781529"/>
              <a:ext cx="918129"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HR Data Mart</a:t>
              </a:r>
            </a:p>
          </p:txBody>
        </p:sp>
        <p:sp>
          <p:nvSpPr>
            <p:cNvPr id="61" name="TextBox 60">
              <a:extLst>
                <a:ext uri="{FF2B5EF4-FFF2-40B4-BE49-F238E27FC236}">
                  <a16:creationId xmlns:a16="http://schemas.microsoft.com/office/drawing/2014/main" id="{30CCDC8C-5382-4B73-8E1D-5A3E0093DB89}"/>
                </a:ext>
              </a:extLst>
            </p:cNvPr>
            <p:cNvSpPr txBox="1"/>
            <p:nvPr/>
          </p:nvSpPr>
          <p:spPr>
            <a:xfrm>
              <a:off x="9489743" y="4371529"/>
              <a:ext cx="838209" cy="2769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Marketing Data Mart</a:t>
              </a:r>
            </a:p>
          </p:txBody>
        </p:sp>
        <p:sp>
          <p:nvSpPr>
            <p:cNvPr id="62" name="TextBox 61">
              <a:extLst>
                <a:ext uri="{FF2B5EF4-FFF2-40B4-BE49-F238E27FC236}">
                  <a16:creationId xmlns:a16="http://schemas.microsoft.com/office/drawing/2014/main" id="{71AF4850-F9AD-404D-878C-23CA65A7B9A4}"/>
                </a:ext>
              </a:extLst>
            </p:cNvPr>
            <p:cNvSpPr txBox="1"/>
            <p:nvPr/>
          </p:nvSpPr>
          <p:spPr>
            <a:xfrm>
              <a:off x="9352094" y="5149525"/>
              <a:ext cx="1101814"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Sales Data Mart</a:t>
              </a:r>
            </a:p>
          </p:txBody>
        </p:sp>
      </p:grpSp>
      <p:cxnSp>
        <p:nvCxnSpPr>
          <p:cNvPr id="6" name="Straight Connector 5">
            <a:extLst>
              <a:ext uri="{FF2B5EF4-FFF2-40B4-BE49-F238E27FC236}">
                <a16:creationId xmlns:a16="http://schemas.microsoft.com/office/drawing/2014/main" id="{32CA67B6-DC34-445C-89B2-FEDD522EFA3B}"/>
              </a:ext>
            </a:extLst>
          </p:cNvPr>
          <p:cNvCxnSpPr>
            <a:cxnSpLocks/>
          </p:cNvCxnSpPr>
          <p:nvPr/>
        </p:nvCxnSpPr>
        <p:spPr>
          <a:xfrm>
            <a:off x="7667629" y="4389615"/>
            <a:ext cx="478709" cy="363838"/>
          </a:xfrm>
          <a:prstGeom prst="line">
            <a:avLst/>
          </a:prstGeom>
          <a:noFill/>
          <a:ln w="9525">
            <a:solidFill>
              <a:srgbClr val="FF000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65" name="Picture 64">
            <a:extLst>
              <a:ext uri="{FF2B5EF4-FFF2-40B4-BE49-F238E27FC236}">
                <a16:creationId xmlns:a16="http://schemas.microsoft.com/office/drawing/2014/main" id="{FD458A20-DDD5-4988-BE1C-55DE6E385729}"/>
              </a:ext>
            </a:extLst>
          </p:cNvPr>
          <p:cNvPicPr>
            <a:picLocks noChangeAspect="1"/>
          </p:cNvPicPr>
          <p:nvPr/>
        </p:nvPicPr>
        <p:blipFill>
          <a:blip r:embed="rId5"/>
          <a:stretch>
            <a:fillRect/>
          </a:stretch>
        </p:blipFill>
        <p:spPr>
          <a:xfrm>
            <a:off x="6626121" y="3161573"/>
            <a:ext cx="512712" cy="514929"/>
          </a:xfrm>
          <a:prstGeom prst="rect">
            <a:avLst/>
          </a:prstGeom>
        </p:spPr>
      </p:pic>
    </p:spTree>
    <p:extLst>
      <p:ext uri="{BB962C8B-B14F-4D97-AF65-F5344CB8AC3E}">
        <p14:creationId xmlns:p14="http://schemas.microsoft.com/office/powerpoint/2010/main" val="42225859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6F0D-D183-474E-B63D-492DD51C35E1}"/>
              </a:ext>
            </a:extLst>
          </p:cNvPr>
          <p:cNvSpPr>
            <a:spLocks noGrp="1"/>
          </p:cNvSpPr>
          <p:nvPr>
            <p:ph type="title"/>
          </p:nvPr>
        </p:nvSpPr>
        <p:spPr/>
        <p:txBody>
          <a:bodyPr/>
          <a:lstStyle/>
          <a:p>
            <a:r>
              <a:rPr lang="en-US" sz="2800"/>
              <a:t>Connection Mode</a:t>
            </a:r>
          </a:p>
        </p:txBody>
      </p:sp>
      <p:grpSp>
        <p:nvGrpSpPr>
          <p:cNvPr id="63" name="Group 62">
            <a:extLst>
              <a:ext uri="{FF2B5EF4-FFF2-40B4-BE49-F238E27FC236}">
                <a16:creationId xmlns:a16="http://schemas.microsoft.com/office/drawing/2014/main" id="{C5E11930-7024-4007-90DE-D7B6ECDDFABC}"/>
              </a:ext>
            </a:extLst>
          </p:cNvPr>
          <p:cNvGrpSpPr/>
          <p:nvPr/>
        </p:nvGrpSpPr>
        <p:grpSpPr>
          <a:xfrm>
            <a:off x="2397266" y="1819337"/>
            <a:ext cx="6899713" cy="3631551"/>
            <a:chOff x="2397266" y="1819338"/>
            <a:chExt cx="5229880" cy="2752662"/>
          </a:xfrm>
        </p:grpSpPr>
        <p:sp>
          <p:nvSpPr>
            <p:cNvPr id="4" name="Rectangle: Rounded Corners 3">
              <a:extLst>
                <a:ext uri="{FF2B5EF4-FFF2-40B4-BE49-F238E27FC236}">
                  <a16:creationId xmlns:a16="http://schemas.microsoft.com/office/drawing/2014/main" id="{3106D8F3-0136-4469-BB75-3CA9BA14117A}"/>
                </a:ext>
              </a:extLst>
            </p:cNvPr>
            <p:cNvSpPr/>
            <p:nvPr/>
          </p:nvSpPr>
          <p:spPr bwMode="auto">
            <a:xfrm>
              <a:off x="2397266" y="1819338"/>
              <a:ext cx="3053623" cy="2752662"/>
            </a:xfrm>
            <a:prstGeom prst="roundRect">
              <a:avLst>
                <a:gd name="adj" fmla="val 353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061CAA94-C70D-4424-89F9-56007F9AEABF}"/>
                </a:ext>
              </a:extLst>
            </p:cNvPr>
            <p:cNvPicPr>
              <a:picLocks noChangeAspect="1"/>
            </p:cNvPicPr>
            <p:nvPr/>
          </p:nvPicPr>
          <p:blipFill>
            <a:blip r:embed="rId2"/>
            <a:stretch>
              <a:fillRect/>
            </a:stretch>
          </p:blipFill>
          <p:spPr>
            <a:xfrm>
              <a:off x="2537474" y="1922451"/>
              <a:ext cx="514929" cy="514929"/>
            </a:xfrm>
            <a:prstGeom prst="rect">
              <a:avLst/>
            </a:prstGeom>
          </p:spPr>
        </p:pic>
        <p:sp>
          <p:nvSpPr>
            <p:cNvPr id="18" name="Freeform: Shape 282">
              <a:extLst>
                <a:ext uri="{FF2B5EF4-FFF2-40B4-BE49-F238E27FC236}">
                  <a16:creationId xmlns:a16="http://schemas.microsoft.com/office/drawing/2014/main" id="{AAB76947-EF5F-46C8-8E71-0B7EE7BDB44D}"/>
                </a:ext>
              </a:extLst>
            </p:cNvPr>
            <p:cNvSpPr/>
            <p:nvPr/>
          </p:nvSpPr>
          <p:spPr>
            <a:xfrm>
              <a:off x="6934832" y="2850482"/>
              <a:ext cx="579163" cy="477457"/>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panose="020F0502020204030204"/>
              </a:endParaRPr>
            </a:p>
          </p:txBody>
        </p:sp>
        <p:sp>
          <p:nvSpPr>
            <p:cNvPr id="19" name="TextBox 18">
              <a:extLst>
                <a:ext uri="{FF2B5EF4-FFF2-40B4-BE49-F238E27FC236}">
                  <a16:creationId xmlns:a16="http://schemas.microsoft.com/office/drawing/2014/main" id="{87CF505F-FD28-4A7B-B070-F139B01D04CC}"/>
                </a:ext>
              </a:extLst>
            </p:cNvPr>
            <p:cNvSpPr txBox="1"/>
            <p:nvPr/>
          </p:nvSpPr>
          <p:spPr>
            <a:xfrm>
              <a:off x="6821679" y="3382290"/>
              <a:ext cx="805467" cy="125976"/>
            </a:xfrm>
            <a:prstGeom prst="rect">
              <a:avLst/>
            </a:prstGeom>
            <a:noFill/>
          </p:spPr>
          <p:txBody>
            <a:bodyPr wrap="square" lIns="0" tIns="0" rIns="0" bIns="0" rtlCol="0">
              <a:spAutoFit/>
            </a:bodyPr>
            <a:lstStyle/>
            <a:p>
              <a:pPr algn="ctr" defTabSz="914367">
                <a:lnSpc>
                  <a:spcPct val="90000"/>
                </a:lnSpc>
                <a:defRPr/>
              </a:pPr>
              <a:r>
                <a:rPr lang="en-US" sz="1200">
                  <a:solidFill>
                    <a:srgbClr val="000000"/>
                  </a:solidFill>
                  <a:latin typeface="Segoe UI Semibold"/>
                </a:rPr>
                <a:t>Power BI</a:t>
              </a:r>
            </a:p>
          </p:txBody>
        </p:sp>
        <p:grpSp>
          <p:nvGrpSpPr>
            <p:cNvPr id="58" name="Group 57">
              <a:extLst>
                <a:ext uri="{FF2B5EF4-FFF2-40B4-BE49-F238E27FC236}">
                  <a16:creationId xmlns:a16="http://schemas.microsoft.com/office/drawing/2014/main" id="{F186289B-9B7E-46E8-A28D-0D97F1495674}"/>
                </a:ext>
              </a:extLst>
            </p:cNvPr>
            <p:cNvGrpSpPr/>
            <p:nvPr/>
          </p:nvGrpSpPr>
          <p:grpSpPr>
            <a:xfrm>
              <a:off x="2916603" y="2112722"/>
              <a:ext cx="2289326" cy="2043151"/>
              <a:chOff x="2916603" y="2112722"/>
              <a:chExt cx="2289326" cy="2043151"/>
            </a:xfrm>
          </p:grpSpPr>
          <p:sp>
            <p:nvSpPr>
              <p:cNvPr id="20" name="Database_EFC7" title="Icon of a cylinder">
                <a:extLst>
                  <a:ext uri="{FF2B5EF4-FFF2-40B4-BE49-F238E27FC236}">
                    <a16:creationId xmlns:a16="http://schemas.microsoft.com/office/drawing/2014/main" id="{AD1AD0BB-5EF0-4D6E-AD1B-D1C319E47D6F}"/>
                  </a:ext>
                </a:extLst>
              </p:cNvPr>
              <p:cNvSpPr>
                <a:spLocks noChangeAspect="1" noEditPoints="1"/>
              </p:cNvSpPr>
              <p:nvPr/>
            </p:nvSpPr>
            <p:spPr bwMode="auto">
              <a:xfrm>
                <a:off x="2916605" y="2726225"/>
                <a:ext cx="758357" cy="94010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1" name="Database_EFC7" title="Icon of a cylinder">
                <a:extLst>
                  <a:ext uri="{FF2B5EF4-FFF2-40B4-BE49-F238E27FC236}">
                    <a16:creationId xmlns:a16="http://schemas.microsoft.com/office/drawing/2014/main" id="{C45F5569-3DE4-49E7-989B-F624E8B0158A}"/>
                  </a:ext>
                </a:extLst>
              </p:cNvPr>
              <p:cNvSpPr>
                <a:spLocks noChangeAspect="1" noEditPoints="1"/>
              </p:cNvSpPr>
              <p:nvPr/>
            </p:nvSpPr>
            <p:spPr bwMode="auto">
              <a:xfrm>
                <a:off x="4300430" y="2256573"/>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2" name="Database_EFC7" title="Icon of a cylinder">
                <a:extLst>
                  <a:ext uri="{FF2B5EF4-FFF2-40B4-BE49-F238E27FC236}">
                    <a16:creationId xmlns:a16="http://schemas.microsoft.com/office/drawing/2014/main" id="{13A6139E-0A34-4803-A17E-6FDD61E011F7}"/>
                  </a:ext>
                </a:extLst>
              </p:cNvPr>
              <p:cNvSpPr>
                <a:spLocks noChangeAspect="1" noEditPoints="1"/>
              </p:cNvSpPr>
              <p:nvPr/>
            </p:nvSpPr>
            <p:spPr bwMode="auto">
              <a:xfrm>
                <a:off x="4300430" y="2944730"/>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3" name="Database_EFC7" title="Icon of a cylinder">
                <a:extLst>
                  <a:ext uri="{FF2B5EF4-FFF2-40B4-BE49-F238E27FC236}">
                    <a16:creationId xmlns:a16="http://schemas.microsoft.com/office/drawing/2014/main" id="{86DFCC37-64E3-40FF-AF5D-095FAEC94E7D}"/>
                  </a:ext>
                </a:extLst>
              </p:cNvPr>
              <p:cNvSpPr>
                <a:spLocks noChangeAspect="1" noEditPoints="1"/>
              </p:cNvSpPr>
              <p:nvPr/>
            </p:nvSpPr>
            <p:spPr bwMode="auto">
              <a:xfrm>
                <a:off x="4294583" y="3786541"/>
                <a:ext cx="562911" cy="36933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rgbClr val="006D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cxnSp>
            <p:nvCxnSpPr>
              <p:cNvPr id="24" name="Straight Connector 23">
                <a:extLst>
                  <a:ext uri="{FF2B5EF4-FFF2-40B4-BE49-F238E27FC236}">
                    <a16:creationId xmlns:a16="http://schemas.microsoft.com/office/drawing/2014/main" id="{0D247628-7C80-4910-888A-93CE00B151B9}"/>
                  </a:ext>
                </a:extLst>
              </p:cNvPr>
              <p:cNvCxnSpPr>
                <a:cxnSpLocks/>
                <a:stCxn id="27" idx="3"/>
                <a:endCxn id="21" idx="4"/>
              </p:cNvCxnSpPr>
              <p:nvPr/>
            </p:nvCxnSpPr>
            <p:spPr>
              <a:xfrm flipV="1">
                <a:off x="3674961" y="2569103"/>
                <a:ext cx="625469" cy="686791"/>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91107C2-14AF-481F-91BB-CCD9E9D2ADA2}"/>
                  </a:ext>
                </a:extLst>
              </p:cNvPr>
              <p:cNvCxnSpPr>
                <a:cxnSpLocks/>
                <a:stCxn id="27" idx="3"/>
                <a:endCxn id="22" idx="4"/>
              </p:cNvCxnSpPr>
              <p:nvPr/>
            </p:nvCxnSpPr>
            <p:spPr>
              <a:xfrm>
                <a:off x="3674961" y="3255894"/>
                <a:ext cx="625469" cy="1366"/>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ACD462D-5C4D-474C-BF2C-AFA033D9509D}"/>
                  </a:ext>
                </a:extLst>
              </p:cNvPr>
              <p:cNvCxnSpPr>
                <a:cxnSpLocks/>
                <a:stCxn id="27" idx="3"/>
                <a:endCxn id="23" idx="4"/>
              </p:cNvCxnSpPr>
              <p:nvPr/>
            </p:nvCxnSpPr>
            <p:spPr>
              <a:xfrm>
                <a:off x="3674961" y="3255894"/>
                <a:ext cx="619622" cy="843177"/>
              </a:xfrm>
              <a:prstGeom prst="line">
                <a:avLst/>
              </a:prstGeom>
              <a:ln>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F4DF96B-7A0E-4F20-AE1D-EECCC2F1E11F}"/>
                  </a:ext>
                </a:extLst>
              </p:cNvPr>
              <p:cNvSpPr txBox="1"/>
              <p:nvPr/>
            </p:nvSpPr>
            <p:spPr>
              <a:xfrm>
                <a:off x="2916603" y="3129916"/>
                <a:ext cx="758358" cy="251954"/>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Data Warehouse</a:t>
                </a:r>
              </a:p>
            </p:txBody>
          </p:sp>
          <p:sp>
            <p:nvSpPr>
              <p:cNvPr id="28" name="TextBox 27">
                <a:extLst>
                  <a:ext uri="{FF2B5EF4-FFF2-40B4-BE49-F238E27FC236}">
                    <a16:creationId xmlns:a16="http://schemas.microsoft.com/office/drawing/2014/main" id="{1731FCFC-4EB4-4B69-86F9-A85892C3E8C5}"/>
                  </a:ext>
                </a:extLst>
              </p:cNvPr>
              <p:cNvSpPr txBox="1"/>
              <p:nvPr/>
            </p:nvSpPr>
            <p:spPr>
              <a:xfrm>
                <a:off x="4162781" y="2112722"/>
                <a:ext cx="918129" cy="125976"/>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HR Data Mart</a:t>
                </a:r>
              </a:p>
            </p:txBody>
          </p:sp>
          <p:sp>
            <p:nvSpPr>
              <p:cNvPr id="29" name="TextBox 28">
                <a:extLst>
                  <a:ext uri="{FF2B5EF4-FFF2-40B4-BE49-F238E27FC236}">
                    <a16:creationId xmlns:a16="http://schemas.microsoft.com/office/drawing/2014/main" id="{D0C73C54-A7D2-43BC-8D76-5F955EBEF711}"/>
                  </a:ext>
                </a:extLst>
              </p:cNvPr>
              <p:cNvSpPr txBox="1"/>
              <p:nvPr/>
            </p:nvSpPr>
            <p:spPr>
              <a:xfrm>
                <a:off x="4037761" y="2782815"/>
                <a:ext cx="1168168" cy="125976"/>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arketing Data Mart</a:t>
                </a:r>
              </a:p>
            </p:txBody>
          </p:sp>
          <p:sp>
            <p:nvSpPr>
              <p:cNvPr id="30" name="TextBox 29">
                <a:extLst>
                  <a:ext uri="{FF2B5EF4-FFF2-40B4-BE49-F238E27FC236}">
                    <a16:creationId xmlns:a16="http://schemas.microsoft.com/office/drawing/2014/main" id="{9C45373B-4CF5-428E-B686-13407C50EAA6}"/>
                  </a:ext>
                </a:extLst>
              </p:cNvPr>
              <p:cNvSpPr txBox="1"/>
              <p:nvPr/>
            </p:nvSpPr>
            <p:spPr>
              <a:xfrm>
                <a:off x="4007613" y="3619744"/>
                <a:ext cx="1101814" cy="125976"/>
              </a:xfrm>
              <a:prstGeom prst="rect">
                <a:avLst/>
              </a:prstGeom>
              <a:noFill/>
            </p:spPr>
            <p:txBody>
              <a:bodyPr wrap="square" lIns="0" tIns="0" rIns="0" bIns="0" rtlCol="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Sales Data Mart</a:t>
                </a:r>
              </a:p>
            </p:txBody>
          </p:sp>
        </p:grpSp>
        <p:cxnSp>
          <p:nvCxnSpPr>
            <p:cNvPr id="32" name="Straight Connector 31">
              <a:extLst>
                <a:ext uri="{FF2B5EF4-FFF2-40B4-BE49-F238E27FC236}">
                  <a16:creationId xmlns:a16="http://schemas.microsoft.com/office/drawing/2014/main" id="{E69F9B06-09F2-43BD-9A9E-E6EF8A298F3C}"/>
                </a:ext>
              </a:extLst>
            </p:cNvPr>
            <p:cNvCxnSpPr>
              <a:cxnSpLocks/>
              <a:stCxn id="4" idx="3"/>
              <a:endCxn id="18" idx="9"/>
            </p:cNvCxnSpPr>
            <p:nvPr/>
          </p:nvCxnSpPr>
          <p:spPr>
            <a:xfrm flipV="1">
              <a:off x="5450889" y="3191800"/>
              <a:ext cx="1515797" cy="3869"/>
            </a:xfrm>
            <a:prstGeom prst="line">
              <a:avLst/>
            </a:prstGeom>
            <a:ln w="19050">
              <a:solidFill>
                <a:srgbClr val="006D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CDDAA8A-5314-4374-AE63-E924F9BC1A9C}"/>
                </a:ext>
              </a:extLst>
            </p:cNvPr>
            <p:cNvSpPr txBox="1"/>
            <p:nvPr/>
          </p:nvSpPr>
          <p:spPr>
            <a:xfrm>
              <a:off x="5576615" y="2962358"/>
              <a:ext cx="1223202" cy="209961"/>
            </a:xfrm>
            <a:prstGeom prst="rect">
              <a:avLst/>
            </a:prstGeom>
            <a:noFill/>
          </p:spPr>
          <p:txBody>
            <a:bodyPr wrap="square" lIns="0" tIns="0" rIns="0" bIns="0" rtlCol="0">
              <a:spAutoFit/>
            </a:bodyPr>
            <a:lstStyle/>
            <a:p>
              <a:pPr algn="ctr" defTabSz="914367">
                <a:lnSpc>
                  <a:spcPct val="90000"/>
                </a:lnSpc>
                <a:defRPr/>
              </a:pPr>
              <a:r>
                <a:rPr lang="en-US" sz="2000" err="1">
                  <a:solidFill>
                    <a:srgbClr val="000000"/>
                  </a:solidFill>
                  <a:latin typeface="Segoe UI Semibold"/>
                </a:rPr>
                <a:t>DirectQuery</a:t>
              </a:r>
              <a:endParaRPr lang="en-US" sz="2000">
                <a:solidFill>
                  <a:srgbClr val="000000"/>
                </a:solidFill>
                <a:latin typeface="Segoe UI Semibold"/>
              </a:endParaRPr>
            </a:p>
          </p:txBody>
        </p:sp>
      </p:grpSp>
      <p:sp>
        <p:nvSpPr>
          <p:cNvPr id="55" name="TextBox 54">
            <a:extLst>
              <a:ext uri="{FF2B5EF4-FFF2-40B4-BE49-F238E27FC236}">
                <a16:creationId xmlns:a16="http://schemas.microsoft.com/office/drawing/2014/main" id="{9CF7B8B1-1B80-45B0-9FF2-7920B9D4BEBB}"/>
              </a:ext>
            </a:extLst>
          </p:cNvPr>
          <p:cNvSpPr txBox="1"/>
          <p:nvPr/>
        </p:nvSpPr>
        <p:spPr>
          <a:xfrm>
            <a:off x="272361" y="665532"/>
            <a:ext cx="10384381" cy="572464"/>
          </a:xfrm>
          <a:prstGeom prst="rect">
            <a:avLst/>
          </a:prstGeom>
          <a:noFill/>
        </p:spPr>
        <p:txBody>
          <a:bodyPr wrap="none" lIns="182880" tIns="146304" rIns="182880" bIns="146304" rtlCol="0">
            <a:spAutoFit/>
          </a:bodyPr>
          <a:lstStyle/>
          <a:p>
            <a:pPr>
              <a:lnSpc>
                <a:spcPct val="90000"/>
              </a:lnSpc>
              <a:spcAft>
                <a:spcPts val="600"/>
              </a:spcAft>
            </a:pPr>
            <a:r>
              <a:rPr lang="en-US" sz="2000">
                <a:gradFill>
                  <a:gsLst>
                    <a:gs pos="2917">
                      <a:schemeClr val="tx1"/>
                    </a:gs>
                    <a:gs pos="30000">
                      <a:schemeClr val="tx1"/>
                    </a:gs>
                  </a:gsLst>
                  <a:lin ang="5400000" scaled="0"/>
                </a:gradFill>
              </a:rPr>
              <a:t>Use Power BI as visualization layer where the data are hosted in Azure Synapse Analytics </a:t>
            </a:r>
          </a:p>
        </p:txBody>
      </p:sp>
    </p:spTree>
    <p:extLst>
      <p:ext uri="{BB962C8B-B14F-4D97-AF65-F5344CB8AC3E}">
        <p14:creationId xmlns:p14="http://schemas.microsoft.com/office/powerpoint/2010/main" val="36636742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35E85-0426-41E5-9B1D-BFD99AF4C029}"/>
              </a:ext>
            </a:extLst>
          </p:cNvPr>
          <p:cNvSpPr>
            <a:spLocks noGrp="1"/>
          </p:cNvSpPr>
          <p:nvPr>
            <p:ph type="title"/>
          </p:nvPr>
        </p:nvSpPr>
        <p:spPr/>
        <p:txBody>
          <a:bodyPr/>
          <a:lstStyle/>
          <a:p>
            <a:r>
              <a:rPr lang="en-US" sz="2800"/>
              <a:t>Advantages</a:t>
            </a:r>
          </a:p>
        </p:txBody>
      </p:sp>
      <p:sp>
        <p:nvSpPr>
          <p:cNvPr id="6" name="TextBox 5">
            <a:extLst>
              <a:ext uri="{FF2B5EF4-FFF2-40B4-BE49-F238E27FC236}">
                <a16:creationId xmlns:a16="http://schemas.microsoft.com/office/drawing/2014/main" id="{ACEF8A86-BBF8-471B-AD33-0EDC5D770D00}"/>
              </a:ext>
            </a:extLst>
          </p:cNvPr>
          <p:cNvSpPr txBox="1"/>
          <p:nvPr/>
        </p:nvSpPr>
        <p:spPr>
          <a:xfrm>
            <a:off x="426424" y="980605"/>
            <a:ext cx="10909154" cy="3139321"/>
          </a:xfrm>
          <a:prstGeom prst="rect">
            <a:avLst/>
          </a:prstGeom>
          <a:noFill/>
        </p:spPr>
        <p:txBody>
          <a:bodyPr wrap="square">
            <a:spAutoFit/>
          </a:bodyPr>
          <a:lstStyle/>
          <a:p>
            <a:pPr marL="285750" indent="-285750">
              <a:buFont typeface="Arial" panose="020B0604020202020204" pitchFamily="34" charset="0"/>
              <a:buChar char="•"/>
            </a:pPr>
            <a:r>
              <a:rPr lang="en-US" dirty="0"/>
              <a:t>Enable analytics on large data with </a:t>
            </a:r>
            <a:r>
              <a:rPr lang="en-US" b="1" dirty="0"/>
              <a:t>massive parallel processing (MPP) </a:t>
            </a:r>
          </a:p>
          <a:p>
            <a:pPr marL="285750" indent="-285750">
              <a:buFont typeface="Arial" panose="020B0604020202020204" pitchFamily="34" charset="0"/>
              <a:buChar char="•"/>
            </a:pPr>
            <a:r>
              <a:rPr lang="en-US" dirty="0"/>
              <a:t>Store in relational tables with </a:t>
            </a:r>
            <a:r>
              <a:rPr lang="en-US" b="1" dirty="0"/>
              <a:t>columnar storage </a:t>
            </a:r>
            <a:r>
              <a:rPr lang="en-US" dirty="0"/>
              <a:t>&amp; </a:t>
            </a:r>
            <a:r>
              <a:rPr lang="en-US" b="1" dirty="0"/>
              <a:t>columnar ordering</a:t>
            </a:r>
          </a:p>
          <a:p>
            <a:pPr marL="285750" indent="-285750">
              <a:buFont typeface="Arial" panose="020B0604020202020204" pitchFamily="34" charset="0"/>
              <a:buChar char="•"/>
            </a:pPr>
            <a:r>
              <a:rPr lang="en-US" dirty="0"/>
              <a:t>Use all or subset of the data in </a:t>
            </a:r>
            <a:r>
              <a:rPr lang="en-US" b="1" dirty="0">
                <a:solidFill>
                  <a:srgbClr val="0070C0"/>
                </a:solidFill>
              </a:rPr>
              <a:t>materialized views </a:t>
            </a:r>
            <a:r>
              <a:rPr lang="en-US" dirty="0"/>
              <a:t>can get faster performance</a:t>
            </a:r>
          </a:p>
          <a:p>
            <a:pPr marL="285750" indent="-285750">
              <a:buFont typeface="Arial" panose="020B0604020202020204" pitchFamily="34" charset="0"/>
              <a:buChar char="•"/>
            </a:pPr>
            <a:r>
              <a:rPr lang="en-US" dirty="0"/>
              <a:t>Tune the performance with result set caching (so </a:t>
            </a:r>
            <a:r>
              <a:rPr lang="en-US" dirty="0" err="1"/>
              <a:t>recomputation</a:t>
            </a:r>
            <a:r>
              <a:rPr lang="en-US" dirty="0"/>
              <a:t> is not needed.)</a:t>
            </a:r>
          </a:p>
          <a:p>
            <a:pPr marL="285750" indent="-285750">
              <a:buFont typeface="Arial" panose="020B0604020202020204" pitchFamily="34" charset="0"/>
              <a:buChar char="•"/>
            </a:pPr>
            <a:r>
              <a:rPr lang="en-US" dirty="0"/>
              <a:t>Come with more complete security.</a:t>
            </a:r>
          </a:p>
          <a:p>
            <a:pPr marL="742950" lvl="1" indent="-285750">
              <a:buFont typeface="Arial" panose="020B0604020202020204" pitchFamily="34" charset="0"/>
              <a:buChar char="•"/>
            </a:pPr>
            <a:r>
              <a:rPr lang="en-US" dirty="0"/>
              <a:t>Row-level security (RLS)</a:t>
            </a:r>
          </a:p>
          <a:p>
            <a:pPr marL="742950" lvl="1" indent="-285750">
              <a:buFont typeface="Arial" panose="020B0604020202020204" pitchFamily="34" charset="0"/>
              <a:buChar char="•"/>
            </a:pPr>
            <a:r>
              <a:rPr lang="en-US" dirty="0"/>
              <a:t>Column-level security</a:t>
            </a:r>
          </a:p>
          <a:p>
            <a:pPr marL="742950" lvl="1" indent="-285750">
              <a:buFont typeface="Arial" panose="020B0604020202020204" pitchFamily="34" charset="0"/>
              <a:buChar char="•"/>
            </a:pPr>
            <a:r>
              <a:rPr lang="en-US" dirty="0"/>
              <a:t>Dynamic Data Masking</a:t>
            </a:r>
          </a:p>
          <a:p>
            <a:pPr marL="285750" indent="-285750">
              <a:buFont typeface="Arial" panose="020B0604020202020204" pitchFamily="34" charset="0"/>
              <a:buChar char="•"/>
            </a:pPr>
            <a:r>
              <a:rPr lang="en-US" dirty="0"/>
              <a:t>Get most up-to-date data from source </a:t>
            </a:r>
            <a:r>
              <a:rPr lang="en-US" dirty="0">
                <a:sym typeface="Wingdings" panose="05000000000000000000" pitchFamily="2" charset="2"/>
              </a:rPr>
              <a:t> Single source of truth</a:t>
            </a:r>
          </a:p>
          <a:p>
            <a:pPr marL="285750" indent="-285750">
              <a:buFont typeface="Arial" panose="020B0604020202020204" pitchFamily="34" charset="0"/>
              <a:buChar char="•"/>
            </a:pPr>
            <a:r>
              <a:rPr lang="en-US" dirty="0">
                <a:sym typeface="Wingdings" panose="05000000000000000000" pitchFamily="2" charset="2"/>
              </a:rPr>
              <a:t>It may no need Power BI Premium to handle large dataset</a:t>
            </a:r>
            <a:endParaRPr lang="en-US" dirty="0"/>
          </a:p>
          <a:p>
            <a:pPr marL="285750" indent="-285750">
              <a:buFont typeface="Arial" panose="020B0604020202020204" pitchFamily="34" charset="0"/>
              <a:buChar char="•"/>
            </a:pPr>
            <a:r>
              <a:rPr lang="en-US" dirty="0">
                <a:sym typeface="Wingdings" panose="05000000000000000000" pitchFamily="2" charset="2"/>
              </a:rPr>
              <a:t>Possible for no data movement (serverless pool)</a:t>
            </a:r>
            <a:endParaRPr lang="en-US" dirty="0"/>
          </a:p>
        </p:txBody>
      </p:sp>
    </p:spTree>
    <p:extLst>
      <p:ext uri="{BB962C8B-B14F-4D97-AF65-F5344CB8AC3E}">
        <p14:creationId xmlns:p14="http://schemas.microsoft.com/office/powerpoint/2010/main" val="26032647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336d9537-55a5-4fd2-9c72-7a547f14bc3c&quot;,&quot;TimeStamp&quot;:&quot;2020-06-26T15:26:49.2377472-07:00&quot;}"/>
</p:tagLst>
</file>

<file path=ppt/theme/theme1.xml><?xml version="1.0" encoding="utf-8"?>
<a:theme xmlns:a="http://schemas.openxmlformats.org/drawingml/2006/main" name="2_Black_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gradFill>
            <a:gsLst>
              <a:gs pos="11000">
                <a:schemeClr val="accent1"/>
              </a:gs>
              <a:gs pos="50000">
                <a:schemeClr val="accent2"/>
              </a:gs>
              <a:gs pos="100000">
                <a:schemeClr val="bg1"/>
              </a:gs>
              <a:gs pos="0">
                <a:schemeClr val="bg1"/>
              </a:gs>
              <a:gs pos="90000">
                <a:schemeClr val="accent1"/>
              </a:gs>
            </a:gsLst>
            <a:lin ang="5400000" scaled="1"/>
          </a:gra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Black_template" id="{32B00443-0F0F-468A-8D30-287ED9EBE2C2}" vid="{786BA7DC-878B-4DC9-BD55-2A637226D6DD}"/>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MGXFY15">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S243BK-R1_Edson" id="{7FA50A56-66DF-4957-B093-DDBFDD24F612}" vid="{2F29F2AE-BCF6-4017-BA1B-18B93B53653C}"/>
    </a:ext>
  </a:extLst>
</a:theme>
</file>

<file path=ppt/theme/theme4.xml><?xml version="1.0" encoding="utf-8"?>
<a:theme xmlns:a="http://schemas.openxmlformats.org/drawingml/2006/main" name="3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1_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0</TotalTime>
  <Words>1617</Words>
  <Application>Microsoft Office PowerPoint</Application>
  <PresentationFormat>Widescreen</PresentationFormat>
  <Paragraphs>287</Paragraphs>
  <Slides>19</Slides>
  <Notes>6</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4" baseType="lpstr">
      <vt:lpstr>Arial</vt:lpstr>
      <vt:lpstr>Arial</vt:lpstr>
      <vt:lpstr>Calibri</vt:lpstr>
      <vt:lpstr>Calibri Light</vt:lpstr>
      <vt:lpstr>Segoe UI</vt:lpstr>
      <vt:lpstr>Segoe UI Light</vt:lpstr>
      <vt:lpstr>Segoe UI Semibold</vt:lpstr>
      <vt:lpstr>Segoe UI Semilight</vt:lpstr>
      <vt:lpstr>Wingdings</vt:lpstr>
      <vt:lpstr>2_Black_template</vt:lpstr>
      <vt:lpstr>Microsoft 365 PPT Template - 2018</vt:lpstr>
      <vt:lpstr>MGXFY15</vt:lpstr>
      <vt:lpstr>3_Azure PPT Template - 2018</vt:lpstr>
      <vt:lpstr>1_Microsoft 365 PPT Template - 2018</vt:lpstr>
      <vt:lpstr>think-cell Slide</vt:lpstr>
      <vt:lpstr>Should Data Models be Implemented in  Azure Synapse Analytics or Power BI Premium?</vt:lpstr>
      <vt:lpstr>Modern Data Warehouse Generic Pattern</vt:lpstr>
      <vt:lpstr>Microsoft Azure is the only cloud provider to unify AI, BI, and Analytics creating accelerated time-to-insight </vt:lpstr>
      <vt:lpstr>BI Solution Pattern I</vt:lpstr>
      <vt:lpstr>Reference Architecture</vt:lpstr>
      <vt:lpstr>Reference Architecture</vt:lpstr>
      <vt:lpstr>Reference Architecture</vt:lpstr>
      <vt:lpstr>Connection Mode</vt:lpstr>
      <vt:lpstr>Advantages</vt:lpstr>
      <vt:lpstr>Disadvantages</vt:lpstr>
      <vt:lpstr>BI Solution Pattern II</vt:lpstr>
      <vt:lpstr>Reference Architecture</vt:lpstr>
      <vt:lpstr>Reference Architecture</vt:lpstr>
      <vt:lpstr>Connection Mode</vt:lpstr>
      <vt:lpstr>Advantages</vt:lpstr>
      <vt:lpstr>Disadvantages</vt:lpstr>
      <vt:lpstr>Decision Flow</vt:lpstr>
      <vt:lpstr>Reference Architectur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uld Data Mart be Implemented in Azure Synapse Analytics or Power BI Premium?</dc:title>
  <dc:creator>Kyle Akepanidtaworn</dc:creator>
  <cp:lastModifiedBy>Kyle Akepanidtaworn</cp:lastModifiedBy>
  <cp:revision>1</cp:revision>
  <dcterms:created xsi:type="dcterms:W3CDTF">2021-03-11T06:48:16Z</dcterms:created>
  <dcterms:modified xsi:type="dcterms:W3CDTF">2021-03-25T07:18:17Z</dcterms:modified>
</cp:coreProperties>
</file>